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1"/>
  </p:sldMasterIdLst>
  <p:notesMasterIdLst>
    <p:notesMasterId r:id="rId21"/>
  </p:notesMasterIdLst>
  <p:sldIdLst>
    <p:sldId id="3199" r:id="rId2"/>
    <p:sldId id="351" r:id="rId3"/>
    <p:sldId id="3246" r:id="rId4"/>
    <p:sldId id="3247" r:id="rId5"/>
    <p:sldId id="362" r:id="rId6"/>
    <p:sldId id="3249" r:id="rId7"/>
    <p:sldId id="3283" r:id="rId8"/>
    <p:sldId id="3250" r:id="rId9"/>
    <p:sldId id="405" r:id="rId10"/>
    <p:sldId id="359" r:id="rId11"/>
    <p:sldId id="3281" r:id="rId12"/>
    <p:sldId id="352" r:id="rId13"/>
    <p:sldId id="353" r:id="rId14"/>
    <p:sldId id="3284" r:id="rId15"/>
    <p:sldId id="354" r:id="rId16"/>
    <p:sldId id="3286" r:id="rId17"/>
    <p:sldId id="410" r:id="rId18"/>
    <p:sldId id="361" r:id="rId19"/>
    <p:sldId id="3285" r:id="rId20"/>
  </p:sldIdLst>
  <p:sldSz cx="12192000" cy="6858000"/>
  <p:notesSz cx="6858000" cy="9144000"/>
  <p:embeddedFontLst>
    <p:embeddedFont>
      <p:font typeface="Arial Nova" panose="020B0504020202020204" pitchFamily="34" charset="0"/>
      <p:regular r:id="rId22"/>
      <p:bold r:id="rId23"/>
      <p:italic r:id="rId24"/>
    </p:embeddedFont>
    <p:embeddedFont>
      <p:font typeface="Calibri" panose="020F0502020204030204" pitchFamily="34" charset="0"/>
      <p:regular r:id="rId25"/>
      <p:bold r:id="rId26"/>
      <p:italic r:id="rId27"/>
      <p:boldItalic r:id="rId28"/>
    </p:embeddedFont>
    <p:embeddedFont>
      <p:font typeface="FontAwesome" pitchFamily="2" charset="0"/>
      <p:regular r:id="rId29"/>
    </p:embeddedFont>
    <p:embeddedFont>
      <p:font typeface="Helvetica" panose="020B0604020202020204" pitchFamily="34" charset="0"/>
      <p:regular r:id="rId30"/>
      <p:bold r:id="rId31"/>
      <p:italic r:id="rId32"/>
      <p:boldItalic r:id="rId33"/>
    </p:embeddedFont>
    <p:embeddedFont>
      <p:font typeface="Roboto" panose="02000000000000000000" pitchFamily="2" charset="0"/>
      <p:regular r:id="rId34"/>
      <p:bold r:id="rId35"/>
      <p:italic r:id="rId36"/>
      <p:boldItalic r:id="rId37"/>
    </p:embeddedFont>
    <p:embeddedFont>
      <p:font typeface="Roboto Light" panose="02000000000000000000" pitchFamily="2" charset="0"/>
      <p:regular r:id="rId38"/>
      <p:italic r:id="rId39"/>
    </p:embeddedFont>
    <p:embeddedFont>
      <p:font typeface="Source Sans Pro Light" panose="020B0403030403020204" pitchFamily="34" charset="0"/>
      <p:regular r:id="rId40"/>
      <p:italic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E52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0566" autoAdjust="0"/>
  </p:normalViewPr>
  <p:slideViewPr>
    <p:cSldViewPr snapToGrid="0">
      <p:cViewPr varScale="1">
        <p:scale>
          <a:sx n="74" d="100"/>
          <a:sy n="74" d="100"/>
        </p:scale>
        <p:origin x="922" y="72"/>
      </p:cViewPr>
      <p:guideLst/>
    </p:cSldViewPr>
  </p:slideViewPr>
  <p:notesTextViewPr>
    <p:cViewPr>
      <p:scale>
        <a:sx n="1" d="1"/>
        <a:sy n="1" d="1"/>
      </p:scale>
      <p:origin x="0" y="0"/>
    </p:cViewPr>
  </p:notesTextViewPr>
  <p:sorterViewPr>
    <p:cViewPr>
      <p:scale>
        <a:sx n="100" d="100"/>
        <a:sy n="100" d="100"/>
      </p:scale>
      <p:origin x="0" y="-57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5.fntdata"/><Relationship Id="rId39" Type="http://schemas.openxmlformats.org/officeDocument/2006/relationships/font" Target="fonts/font18.fntdata"/><Relationship Id="rId21" Type="http://schemas.openxmlformats.org/officeDocument/2006/relationships/notesMaster" Target="notesMasters/notesMaster1.xml"/><Relationship Id="rId34" Type="http://schemas.openxmlformats.org/officeDocument/2006/relationships/font" Target="fonts/font13.fntdata"/><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font" Target="fonts/font16.fntdata"/><Relationship Id="rId40" Type="http://schemas.openxmlformats.org/officeDocument/2006/relationships/font" Target="fonts/font19.fntdata"/><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font" Target="fonts/font15.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10.fntdata"/><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font" Target="fonts/font14.fntdata"/><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font" Target="fonts/font17.fntdata"/><Relationship Id="rId20" Type="http://schemas.openxmlformats.org/officeDocument/2006/relationships/slide" Target="slides/slide19.xml"/><Relationship Id="rId41" Type="http://schemas.openxmlformats.org/officeDocument/2006/relationships/font" Target="fonts/font2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2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2DEB10-C37B-4447-974B-C096E94F0542}" type="datetimeFigureOut">
              <a:rPr lang="en-US" smtClean="0"/>
              <a:t>2/1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CE31CD-8F5C-45E6-9216-5006AAA5B9D0}" type="slidenum">
              <a:rPr lang="en-US" smtClean="0"/>
              <a:t>‹#›</a:t>
            </a:fld>
            <a:endParaRPr lang="en-US"/>
          </a:p>
        </p:txBody>
      </p:sp>
    </p:spTree>
    <p:extLst>
      <p:ext uri="{BB962C8B-B14F-4D97-AF65-F5344CB8AC3E}">
        <p14:creationId xmlns:p14="http://schemas.microsoft.com/office/powerpoint/2010/main" val="40483493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4CE31CD-8F5C-45E6-9216-5006AAA5B9D0}" type="slidenum">
              <a:rPr lang="en-US" smtClean="0"/>
              <a:t>1</a:t>
            </a:fld>
            <a:endParaRPr lang="en-US"/>
          </a:p>
        </p:txBody>
      </p:sp>
    </p:spTree>
    <p:extLst>
      <p:ext uri="{BB962C8B-B14F-4D97-AF65-F5344CB8AC3E}">
        <p14:creationId xmlns:p14="http://schemas.microsoft.com/office/powerpoint/2010/main" val="24264290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CE31CD-8F5C-45E6-9216-5006AAA5B9D0}" type="slidenum">
              <a:rPr lang="en-US" smtClean="0"/>
              <a:t>10</a:t>
            </a:fld>
            <a:endParaRPr lang="en-US"/>
          </a:p>
        </p:txBody>
      </p:sp>
    </p:spTree>
    <p:extLst>
      <p:ext uri="{BB962C8B-B14F-4D97-AF65-F5344CB8AC3E}">
        <p14:creationId xmlns:p14="http://schemas.microsoft.com/office/powerpoint/2010/main" val="1639512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3" name="Rectangle 2"/>
          <p:cNvSpPr>
            <a:spLocks noGrp="1" noRot="1" noChangeAspect="1" noChangeArrowheads="1" noTextEdit="1"/>
          </p:cNvSpPr>
          <p:nvPr>
            <p:ph type="sldImg"/>
          </p:nvPr>
        </p:nvSpPr>
        <p:spPr>
          <a:xfrm>
            <a:off x="598488" y="828675"/>
            <a:ext cx="6537325" cy="3678238"/>
          </a:xfrm>
          <a:ln/>
        </p:spPr>
      </p:sp>
      <p:sp>
        <p:nvSpPr>
          <p:cNvPr id="253954"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1741456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7D9F051-6CF9-D949-AEA8-C5AAD6E65417}" type="slidenum">
              <a:rPr lang="en-US" smtClean="0"/>
              <a:pPr/>
              <a:t>12</a:t>
            </a:fld>
            <a:endParaRPr lang="en-US" dirty="0"/>
          </a:p>
        </p:txBody>
      </p:sp>
    </p:spTree>
    <p:extLst>
      <p:ext uri="{BB962C8B-B14F-4D97-AF65-F5344CB8AC3E}">
        <p14:creationId xmlns:p14="http://schemas.microsoft.com/office/powerpoint/2010/main" val="2732805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7D9F051-6CF9-D949-AEA8-C5AAD6E65417}" type="slidenum">
              <a:rPr lang="en-US" smtClean="0"/>
              <a:pPr/>
              <a:t>13</a:t>
            </a:fld>
            <a:endParaRPr lang="en-US" dirty="0"/>
          </a:p>
        </p:txBody>
      </p:sp>
    </p:spTree>
    <p:extLst>
      <p:ext uri="{BB962C8B-B14F-4D97-AF65-F5344CB8AC3E}">
        <p14:creationId xmlns:p14="http://schemas.microsoft.com/office/powerpoint/2010/main" val="244277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7D9F051-6CF9-D949-AEA8-C5AAD6E65417}" type="slidenum">
              <a:rPr lang="en-US" smtClean="0"/>
              <a:pPr/>
              <a:t>15</a:t>
            </a:fld>
            <a:endParaRPr lang="en-US" dirty="0"/>
          </a:p>
        </p:txBody>
      </p:sp>
    </p:spTree>
    <p:extLst>
      <p:ext uri="{BB962C8B-B14F-4D97-AF65-F5344CB8AC3E}">
        <p14:creationId xmlns:p14="http://schemas.microsoft.com/office/powerpoint/2010/main" val="4629434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7D9F051-6CF9-D949-AEA8-C5AAD6E65417}" type="slidenum">
              <a:rPr lang="en-US" smtClean="0"/>
              <a:pPr/>
              <a:t>17</a:t>
            </a:fld>
            <a:endParaRPr lang="en-US" dirty="0"/>
          </a:p>
        </p:txBody>
      </p:sp>
    </p:spTree>
    <p:extLst>
      <p:ext uri="{BB962C8B-B14F-4D97-AF65-F5344CB8AC3E}">
        <p14:creationId xmlns:p14="http://schemas.microsoft.com/office/powerpoint/2010/main" val="30276739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CE31CD-8F5C-45E6-9216-5006AAA5B9D0}" type="slidenum">
              <a:rPr lang="en-US" smtClean="0"/>
              <a:t>18</a:t>
            </a:fld>
            <a:endParaRPr lang="en-US"/>
          </a:p>
        </p:txBody>
      </p:sp>
    </p:spTree>
    <p:extLst>
      <p:ext uri="{BB962C8B-B14F-4D97-AF65-F5344CB8AC3E}">
        <p14:creationId xmlns:p14="http://schemas.microsoft.com/office/powerpoint/2010/main" val="1107613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CE31CD-8F5C-45E6-9216-5006AAA5B9D0}" type="slidenum">
              <a:rPr lang="en-US" smtClean="0"/>
              <a:t>2</a:t>
            </a:fld>
            <a:endParaRPr lang="en-US"/>
          </a:p>
        </p:txBody>
      </p:sp>
    </p:spTree>
    <p:extLst>
      <p:ext uri="{BB962C8B-B14F-4D97-AF65-F5344CB8AC3E}">
        <p14:creationId xmlns:p14="http://schemas.microsoft.com/office/powerpoint/2010/main" val="20880282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D9F051-6CF9-D949-AEA8-C5AAD6E65417}" type="slidenum">
              <a:rPr lang="en-US" smtClean="0"/>
              <a:pPr/>
              <a:t>3</a:t>
            </a:fld>
            <a:endParaRPr lang="en-US" dirty="0"/>
          </a:p>
        </p:txBody>
      </p:sp>
    </p:spTree>
    <p:extLst>
      <p:ext uri="{BB962C8B-B14F-4D97-AF65-F5344CB8AC3E}">
        <p14:creationId xmlns:p14="http://schemas.microsoft.com/office/powerpoint/2010/main" val="2848784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94142">
              <a:defRPr/>
            </a:pPr>
            <a:endParaRPr lang="en-US" dirty="0"/>
          </a:p>
        </p:txBody>
      </p:sp>
      <p:sp>
        <p:nvSpPr>
          <p:cNvPr id="4" name="Slide Number Placeholder 3"/>
          <p:cNvSpPr>
            <a:spLocks noGrp="1"/>
          </p:cNvSpPr>
          <p:nvPr>
            <p:ph type="sldNum" sz="quarter" idx="10"/>
          </p:nvPr>
        </p:nvSpPr>
        <p:spPr/>
        <p:txBody>
          <a:bodyPr/>
          <a:lstStyle/>
          <a:p>
            <a:fld id="{D7D9F051-6CF9-D949-AEA8-C5AAD6E65417}" type="slidenum">
              <a:rPr lang="en-US" smtClean="0"/>
              <a:pPr/>
              <a:t>4</a:t>
            </a:fld>
            <a:endParaRPr lang="en-US" dirty="0"/>
          </a:p>
        </p:txBody>
      </p:sp>
    </p:spTree>
    <p:extLst>
      <p:ext uri="{BB962C8B-B14F-4D97-AF65-F5344CB8AC3E}">
        <p14:creationId xmlns:p14="http://schemas.microsoft.com/office/powerpoint/2010/main" val="4114192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CE31CD-8F5C-45E6-9216-5006AAA5B9D0}" type="slidenum">
              <a:rPr lang="en-US" smtClean="0"/>
              <a:t>5</a:t>
            </a:fld>
            <a:endParaRPr lang="en-US"/>
          </a:p>
        </p:txBody>
      </p:sp>
    </p:spTree>
    <p:extLst>
      <p:ext uri="{BB962C8B-B14F-4D97-AF65-F5344CB8AC3E}">
        <p14:creationId xmlns:p14="http://schemas.microsoft.com/office/powerpoint/2010/main" val="1382931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7" name="Rectangle 2"/>
          <p:cNvSpPr>
            <a:spLocks noGrp="1" noRot="1" noChangeAspect="1" noChangeArrowheads="1" noTextEdit="1"/>
          </p:cNvSpPr>
          <p:nvPr>
            <p:ph type="sldImg"/>
          </p:nvPr>
        </p:nvSpPr>
        <p:spPr>
          <a:xfrm>
            <a:off x="612775" y="830263"/>
            <a:ext cx="6523038" cy="3670300"/>
          </a:xfrm>
          <a:ln/>
        </p:spPr>
      </p:sp>
      <p:sp>
        <p:nvSpPr>
          <p:cNvPr id="265218" name="Rectangle 3"/>
          <p:cNvSpPr>
            <a:spLocks noGrp="1" noChangeArrowheads="1"/>
          </p:cNvSpPr>
          <p:nvPr>
            <p:ph type="body" idx="1"/>
          </p:nvPr>
        </p:nvSpPr>
        <p:spPr>
          <a:xfrm>
            <a:off x="1030117" y="4812087"/>
            <a:ext cx="5648010" cy="4547740"/>
          </a:xfrm>
          <a:noFill/>
          <a:ln/>
        </p:spPr>
        <p:txBody>
          <a:bodyPr/>
          <a:lstStyle/>
          <a:p>
            <a:endParaRPr lang="en-US" dirty="0"/>
          </a:p>
        </p:txBody>
      </p:sp>
    </p:spTree>
    <p:extLst>
      <p:ext uri="{BB962C8B-B14F-4D97-AF65-F5344CB8AC3E}">
        <p14:creationId xmlns:p14="http://schemas.microsoft.com/office/powerpoint/2010/main" val="3417361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CE31CD-8F5C-45E6-9216-5006AAA5B9D0}" type="slidenum">
              <a:rPr lang="en-US" smtClean="0"/>
              <a:t>7</a:t>
            </a:fld>
            <a:endParaRPr lang="en-US"/>
          </a:p>
        </p:txBody>
      </p:sp>
    </p:spTree>
    <p:extLst>
      <p:ext uri="{BB962C8B-B14F-4D97-AF65-F5344CB8AC3E}">
        <p14:creationId xmlns:p14="http://schemas.microsoft.com/office/powerpoint/2010/main" val="2624320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7D9F051-6CF9-D949-AEA8-C5AAD6E65417}" type="slidenum">
              <a:rPr lang="en-US" smtClean="0"/>
              <a:pPr/>
              <a:t>8</a:t>
            </a:fld>
            <a:endParaRPr lang="en-US" dirty="0"/>
          </a:p>
        </p:txBody>
      </p:sp>
    </p:spTree>
    <p:extLst>
      <p:ext uri="{BB962C8B-B14F-4D97-AF65-F5344CB8AC3E}">
        <p14:creationId xmlns:p14="http://schemas.microsoft.com/office/powerpoint/2010/main" val="487439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7D9F051-6CF9-D949-AEA8-C5AAD6E65417}" type="slidenum">
              <a:rPr lang="en-US" smtClean="0"/>
              <a:pPr/>
              <a:t>9</a:t>
            </a:fld>
            <a:endParaRPr lang="en-US" dirty="0"/>
          </a:p>
        </p:txBody>
      </p:sp>
    </p:spTree>
    <p:extLst>
      <p:ext uri="{BB962C8B-B14F-4D97-AF65-F5344CB8AC3E}">
        <p14:creationId xmlns:p14="http://schemas.microsoft.com/office/powerpoint/2010/main" val="16055091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endParaRPr lang="en-US" dirty="0"/>
          </a:p>
        </p:txBody>
      </p:sp>
      <p:sp>
        <p:nvSpPr>
          <p:cNvPr id="3" name="Subtitle 2"/>
          <p:cNvSpPr>
            <a:spLocks noGrp="1"/>
          </p:cNvSpPr>
          <p:nvPr>
            <p:ph type="subTitle" idx="1"/>
          </p:nvPr>
        </p:nvSpPr>
        <p:spPr>
          <a:xfrm>
            <a:off x="903113" y="3886200"/>
            <a:ext cx="9460089" cy="1752600"/>
          </a:xfrm>
        </p:spPr>
        <p:txBody>
          <a:bodyPr/>
          <a:lstStyle>
            <a:lvl1pPr marL="0" indent="0" algn="l">
              <a:buNone/>
              <a:defRPr>
                <a:solidFill>
                  <a:schemeClr val="tx1">
                    <a:tint val="75000"/>
                  </a:schemeClr>
                </a:solidFill>
              </a:defRPr>
            </a:lvl1pPr>
            <a:lvl2pPr marL="609515" indent="0" algn="ctr">
              <a:buNone/>
              <a:defRPr>
                <a:solidFill>
                  <a:schemeClr val="tx1">
                    <a:tint val="75000"/>
                  </a:schemeClr>
                </a:solidFill>
              </a:defRPr>
            </a:lvl2pPr>
            <a:lvl3pPr marL="1219031" indent="0" algn="ctr">
              <a:buNone/>
              <a:defRPr>
                <a:solidFill>
                  <a:schemeClr val="tx1">
                    <a:tint val="75000"/>
                  </a:schemeClr>
                </a:solidFill>
              </a:defRPr>
            </a:lvl3pPr>
            <a:lvl4pPr marL="1828546" indent="0" algn="ctr">
              <a:buNone/>
              <a:defRPr>
                <a:solidFill>
                  <a:schemeClr val="tx1">
                    <a:tint val="75000"/>
                  </a:schemeClr>
                </a:solidFill>
              </a:defRPr>
            </a:lvl4pPr>
            <a:lvl5pPr marL="2438062" indent="0" algn="ctr">
              <a:buNone/>
              <a:defRPr>
                <a:solidFill>
                  <a:schemeClr val="tx1">
                    <a:tint val="75000"/>
                  </a:schemeClr>
                </a:solidFill>
              </a:defRPr>
            </a:lvl5pPr>
            <a:lvl6pPr marL="3047577" indent="0" algn="ctr">
              <a:buNone/>
              <a:defRPr>
                <a:solidFill>
                  <a:schemeClr val="tx1">
                    <a:tint val="75000"/>
                  </a:schemeClr>
                </a:solidFill>
              </a:defRPr>
            </a:lvl6pPr>
            <a:lvl7pPr marL="3657093" indent="0" algn="ctr">
              <a:buNone/>
              <a:defRPr>
                <a:solidFill>
                  <a:schemeClr val="tx1">
                    <a:tint val="75000"/>
                  </a:schemeClr>
                </a:solidFill>
              </a:defRPr>
            </a:lvl7pPr>
            <a:lvl8pPr marL="4266608" indent="0" algn="ctr">
              <a:buNone/>
              <a:defRPr>
                <a:solidFill>
                  <a:schemeClr val="tx1">
                    <a:tint val="75000"/>
                  </a:schemeClr>
                </a:solidFill>
              </a:defRPr>
            </a:lvl8pPr>
            <a:lvl9pPr marL="4876123" indent="0" algn="ctr">
              <a:buNone/>
              <a:defRPr>
                <a:solidFill>
                  <a:schemeClr val="tx1">
                    <a:tint val="75000"/>
                  </a:schemeClr>
                </a:solidFill>
              </a:defRPr>
            </a:lvl9pPr>
          </a:lstStyle>
          <a:p>
            <a:r>
              <a:rPr lang="en-US"/>
              <a:t>Click to edit Master subtitle style</a:t>
            </a:r>
            <a:endParaRPr lang="en-US" dirty="0"/>
          </a:p>
        </p:txBody>
      </p:sp>
      <p:sp>
        <p:nvSpPr>
          <p:cNvPr id="6" name="Text Placeholder 13">
            <a:extLst>
              <a:ext uri="{FF2B5EF4-FFF2-40B4-BE49-F238E27FC236}">
                <a16:creationId xmlns:a16="http://schemas.microsoft.com/office/drawing/2014/main" id="{B6782796-A5C4-4DC6-9A9E-139D2D5906B2}"/>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bg1">
                    <a:lumMod val="25000"/>
                  </a:schemeClr>
                </a:solidFill>
              </a:defRPr>
            </a:lvl1pPr>
          </a:lstStyle>
          <a:p>
            <a:pPr lvl="0"/>
            <a:r>
              <a:rPr lang="en-US" dirty="0"/>
              <a:t>Click to add source</a:t>
            </a:r>
          </a:p>
        </p:txBody>
      </p:sp>
    </p:spTree>
    <p:extLst>
      <p:ext uri="{BB962C8B-B14F-4D97-AF65-F5344CB8AC3E}">
        <p14:creationId xmlns:p14="http://schemas.microsoft.com/office/powerpoint/2010/main" val="690849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458569"/>
            <a:ext cx="7315200" cy="566739"/>
          </a:xfrm>
        </p:spPr>
        <p:txBody>
          <a:bodyPr anchor="b"/>
          <a:lstStyle>
            <a:lvl1pPr algn="l">
              <a:defRPr sz="2667" b="0"/>
            </a:lvl1pPr>
          </a:lstStyle>
          <a:p>
            <a:r>
              <a:rPr lang="en-US"/>
              <a:t>Click to edit Master title style</a:t>
            </a:r>
            <a:endParaRPr lang="en-US" dirty="0"/>
          </a:p>
        </p:txBody>
      </p:sp>
      <p:sp>
        <p:nvSpPr>
          <p:cNvPr id="3" name="Picture Placeholder 2"/>
          <p:cNvSpPr>
            <a:spLocks noGrp="1"/>
          </p:cNvSpPr>
          <p:nvPr>
            <p:ph type="pic" idx="1"/>
          </p:nvPr>
        </p:nvSpPr>
        <p:spPr>
          <a:xfrm>
            <a:off x="2389717" y="612776"/>
            <a:ext cx="7315200" cy="3813643"/>
          </a:xfrm>
        </p:spPr>
        <p:txBody>
          <a:bodyPr/>
          <a:lstStyle>
            <a:lvl1pPr marL="0" indent="0">
              <a:buNone/>
              <a:defRPr sz="4267"/>
            </a:lvl1pPr>
            <a:lvl2pPr marL="609515" indent="0">
              <a:buNone/>
              <a:defRPr sz="3733"/>
            </a:lvl2pPr>
            <a:lvl3pPr marL="1219031" indent="0">
              <a:buNone/>
              <a:defRPr sz="3200"/>
            </a:lvl3pPr>
            <a:lvl4pPr marL="1828546" indent="0">
              <a:buNone/>
              <a:defRPr sz="2667"/>
            </a:lvl4pPr>
            <a:lvl5pPr marL="2438062" indent="0">
              <a:buNone/>
              <a:defRPr sz="2667"/>
            </a:lvl5pPr>
            <a:lvl6pPr marL="3047577" indent="0">
              <a:buNone/>
              <a:defRPr sz="2667"/>
            </a:lvl6pPr>
            <a:lvl7pPr marL="3657093" indent="0">
              <a:buNone/>
              <a:defRPr sz="2667"/>
            </a:lvl7pPr>
            <a:lvl8pPr marL="4266608" indent="0">
              <a:buNone/>
              <a:defRPr sz="2667"/>
            </a:lvl8pPr>
            <a:lvl9pPr marL="4876123" indent="0">
              <a:buNone/>
              <a:defRPr sz="2667"/>
            </a:lvl9pPr>
          </a:lstStyle>
          <a:p>
            <a:r>
              <a:rPr lang="en-US"/>
              <a:t>Click icon to add picture</a:t>
            </a:r>
            <a:endParaRPr lang="en-US" dirty="0"/>
          </a:p>
        </p:txBody>
      </p:sp>
      <p:sp>
        <p:nvSpPr>
          <p:cNvPr id="4" name="Text Placeholder 3"/>
          <p:cNvSpPr>
            <a:spLocks noGrp="1"/>
          </p:cNvSpPr>
          <p:nvPr>
            <p:ph type="body" sz="half" idx="2"/>
          </p:nvPr>
        </p:nvSpPr>
        <p:spPr>
          <a:xfrm>
            <a:off x="2389717" y="5025309"/>
            <a:ext cx="7315200" cy="804863"/>
          </a:xfrm>
        </p:spPr>
        <p:txBody>
          <a:bodyPr>
            <a:normAutofit/>
          </a:bodyPr>
          <a:lstStyle>
            <a:lvl1pPr marL="0" indent="0">
              <a:buNone/>
              <a:defRPr sz="1333"/>
            </a:lvl1pPr>
            <a:lvl2pPr marL="609515" indent="0">
              <a:buNone/>
              <a:defRPr sz="1600"/>
            </a:lvl2pPr>
            <a:lvl3pPr marL="1219031" indent="0">
              <a:buNone/>
              <a:defRPr sz="1333"/>
            </a:lvl3pPr>
            <a:lvl4pPr marL="1828546" indent="0">
              <a:buNone/>
              <a:defRPr sz="1200"/>
            </a:lvl4pPr>
            <a:lvl5pPr marL="2438062" indent="0">
              <a:buNone/>
              <a:defRPr sz="1200"/>
            </a:lvl5pPr>
            <a:lvl6pPr marL="3047577" indent="0">
              <a:buNone/>
              <a:defRPr sz="1200"/>
            </a:lvl6pPr>
            <a:lvl7pPr marL="3657093" indent="0">
              <a:buNone/>
              <a:defRPr sz="1200"/>
            </a:lvl7pPr>
            <a:lvl8pPr marL="4266608" indent="0">
              <a:buNone/>
              <a:defRPr sz="1200"/>
            </a:lvl8pPr>
            <a:lvl9pPr marL="4876123" indent="0">
              <a:buNone/>
              <a:defRPr sz="1200"/>
            </a:lvl9pPr>
          </a:lstStyle>
          <a:p>
            <a:pPr lvl="0"/>
            <a:r>
              <a:rPr lang="en-US"/>
              <a:t>Click to edit Master text styles</a:t>
            </a:r>
          </a:p>
        </p:txBody>
      </p:sp>
      <p:sp>
        <p:nvSpPr>
          <p:cNvPr id="8" name="Text Placeholder 13">
            <a:extLst>
              <a:ext uri="{FF2B5EF4-FFF2-40B4-BE49-F238E27FC236}">
                <a16:creationId xmlns:a16="http://schemas.microsoft.com/office/drawing/2014/main" id="{6A7B5CD7-C75D-47E5-BDD5-2DD51772EEBE}"/>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35264676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3">
            <a:extLst>
              <a:ext uri="{FF2B5EF4-FFF2-40B4-BE49-F238E27FC236}">
                <a16:creationId xmlns:a16="http://schemas.microsoft.com/office/drawing/2014/main" id="{13EE8D3A-372D-4819-A766-E60669B5B04C}"/>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30957862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743259" y="274640"/>
            <a:ext cx="839141" cy="556651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09600" y="274640"/>
            <a:ext cx="10048992" cy="55665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3">
            <a:extLst>
              <a:ext uri="{FF2B5EF4-FFF2-40B4-BE49-F238E27FC236}">
                <a16:creationId xmlns:a16="http://schemas.microsoft.com/office/drawing/2014/main" id="{D2E15A27-2F01-4EDF-BE9B-540540F8D134}"/>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1470054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3 column">
    <p:spTree>
      <p:nvGrpSpPr>
        <p:cNvPr id="1" name=""/>
        <p:cNvGrpSpPr/>
        <p:nvPr/>
      </p:nvGrpSpPr>
      <p:grpSpPr>
        <a:xfrm>
          <a:off x="0" y="0"/>
          <a:ext cx="0" cy="0"/>
          <a:chOff x="0" y="0"/>
          <a:chExt cx="0" cy="0"/>
        </a:xfrm>
      </p:grpSpPr>
      <p:sp>
        <p:nvSpPr>
          <p:cNvPr id="2" name="Title 1"/>
          <p:cNvSpPr>
            <a:spLocks noGrp="1"/>
          </p:cNvSpPr>
          <p:nvPr>
            <p:ph type="title"/>
          </p:nvPr>
        </p:nvSpPr>
        <p:spPr>
          <a:xfrm>
            <a:off x="483955" y="129515"/>
            <a:ext cx="10972800" cy="563389"/>
          </a:xfrm>
        </p:spPr>
        <p:txBody>
          <a:bodyPr/>
          <a:lstStyle/>
          <a:p>
            <a:r>
              <a:rPr lang="en-US" dirty="0"/>
              <a:t>Click to edit Master title style</a:t>
            </a:r>
          </a:p>
        </p:txBody>
      </p:sp>
      <p:sp>
        <p:nvSpPr>
          <p:cNvPr id="14" name="Text Placeholder 13"/>
          <p:cNvSpPr>
            <a:spLocks noGrp="1"/>
          </p:cNvSpPr>
          <p:nvPr>
            <p:ph type="body" sz="quarter" idx="11"/>
          </p:nvPr>
        </p:nvSpPr>
        <p:spPr>
          <a:xfrm>
            <a:off x="594787" y="1531185"/>
            <a:ext cx="3407639" cy="3930587"/>
          </a:xfrm>
        </p:spPr>
        <p:txBody>
          <a:bodyPr/>
          <a:lstStyle>
            <a:lvl1pPr marL="0" indent="0">
              <a:buNone/>
              <a:defRPr/>
            </a:lvl1pPr>
          </a:lstStyle>
          <a:p>
            <a:pPr lvl="0"/>
            <a:r>
              <a:rPr lang="en-US"/>
              <a:t>Click to edit Master text styles</a:t>
            </a:r>
          </a:p>
        </p:txBody>
      </p:sp>
      <p:sp>
        <p:nvSpPr>
          <p:cNvPr id="15" name="Text Placeholder 13"/>
          <p:cNvSpPr>
            <a:spLocks noGrp="1"/>
          </p:cNvSpPr>
          <p:nvPr>
            <p:ph type="body" sz="quarter" idx="12"/>
          </p:nvPr>
        </p:nvSpPr>
        <p:spPr>
          <a:xfrm>
            <a:off x="4389907" y="1531185"/>
            <a:ext cx="3407639" cy="3930587"/>
          </a:xfrm>
        </p:spPr>
        <p:txBody>
          <a:bodyPr/>
          <a:lstStyle>
            <a:lvl1pPr marL="0" indent="0">
              <a:buNone/>
              <a:defRPr/>
            </a:lvl1pPr>
          </a:lstStyle>
          <a:p>
            <a:pPr lvl="0"/>
            <a:r>
              <a:rPr lang="en-US"/>
              <a:t>Click to edit Master text styles</a:t>
            </a:r>
          </a:p>
        </p:txBody>
      </p:sp>
      <p:sp>
        <p:nvSpPr>
          <p:cNvPr id="16" name="Text Placeholder 13"/>
          <p:cNvSpPr>
            <a:spLocks noGrp="1"/>
          </p:cNvSpPr>
          <p:nvPr>
            <p:ph type="body" sz="quarter" idx="13"/>
          </p:nvPr>
        </p:nvSpPr>
        <p:spPr>
          <a:xfrm>
            <a:off x="8185026" y="1531185"/>
            <a:ext cx="3407639" cy="3930587"/>
          </a:xfrm>
        </p:spPr>
        <p:txBody>
          <a:bodyPr/>
          <a:lstStyle>
            <a:lvl1pPr marL="0" indent="0">
              <a:buNone/>
              <a:defRPr/>
            </a:lvl1pPr>
          </a:lstStyle>
          <a:p>
            <a:pPr lvl="0"/>
            <a:r>
              <a:rPr lang="en-US"/>
              <a:t>Click to edit Master text styles</a:t>
            </a:r>
          </a:p>
        </p:txBody>
      </p:sp>
      <p:sp>
        <p:nvSpPr>
          <p:cNvPr id="8" name="Text Placeholder 13">
            <a:extLst>
              <a:ext uri="{FF2B5EF4-FFF2-40B4-BE49-F238E27FC236}">
                <a16:creationId xmlns:a16="http://schemas.microsoft.com/office/drawing/2014/main" id="{D375CA54-6D5C-4B8E-B5D8-377450CEB38B}"/>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37708659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3 column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Text Placeholder 13"/>
          <p:cNvSpPr>
            <a:spLocks noGrp="1"/>
          </p:cNvSpPr>
          <p:nvPr>
            <p:ph type="body" sz="quarter" idx="11"/>
          </p:nvPr>
        </p:nvSpPr>
        <p:spPr>
          <a:xfrm>
            <a:off x="594787" y="3961375"/>
            <a:ext cx="3407639" cy="1541447"/>
          </a:xfrm>
        </p:spPr>
        <p:txBody>
          <a:bodyPr/>
          <a:lstStyle>
            <a:lvl1pPr marL="0" indent="0">
              <a:buNone/>
              <a:defRPr/>
            </a:lvl1pPr>
          </a:lstStyle>
          <a:p>
            <a:pPr lvl="0"/>
            <a:r>
              <a:rPr lang="en-US"/>
              <a:t>Click to edit Master text styles</a:t>
            </a:r>
          </a:p>
        </p:txBody>
      </p:sp>
      <p:sp>
        <p:nvSpPr>
          <p:cNvPr id="7" name="Text Placeholder 3"/>
          <p:cNvSpPr>
            <a:spLocks noGrp="1"/>
          </p:cNvSpPr>
          <p:nvPr>
            <p:ph type="body" sz="half" idx="2"/>
          </p:nvPr>
        </p:nvSpPr>
        <p:spPr>
          <a:xfrm>
            <a:off x="599341" y="3415789"/>
            <a:ext cx="3403084" cy="401911"/>
          </a:xfrm>
        </p:spPr>
        <p:txBody>
          <a:bodyPr>
            <a:normAutofit/>
          </a:bodyPr>
          <a:lstStyle>
            <a:lvl1pPr marL="0" indent="0">
              <a:buNone/>
              <a:defRPr sz="1600">
                <a:solidFill>
                  <a:srgbClr val="070707"/>
                </a:solidFill>
              </a:defRPr>
            </a:lvl1pPr>
            <a:lvl2pPr marL="609515" indent="0">
              <a:buNone/>
              <a:defRPr sz="1600"/>
            </a:lvl2pPr>
            <a:lvl3pPr marL="1219031" indent="0">
              <a:buNone/>
              <a:defRPr sz="1333"/>
            </a:lvl3pPr>
            <a:lvl4pPr marL="1828546" indent="0">
              <a:buNone/>
              <a:defRPr sz="1200"/>
            </a:lvl4pPr>
            <a:lvl5pPr marL="2438062" indent="0">
              <a:buNone/>
              <a:defRPr sz="1200"/>
            </a:lvl5pPr>
            <a:lvl6pPr marL="3047577" indent="0">
              <a:buNone/>
              <a:defRPr sz="1200"/>
            </a:lvl6pPr>
            <a:lvl7pPr marL="3657093" indent="0">
              <a:buNone/>
              <a:defRPr sz="1200"/>
            </a:lvl7pPr>
            <a:lvl8pPr marL="4266608" indent="0">
              <a:buNone/>
              <a:defRPr sz="1200"/>
            </a:lvl8pPr>
            <a:lvl9pPr marL="4876123" indent="0">
              <a:buNone/>
              <a:defRPr sz="1200"/>
            </a:lvl9pPr>
          </a:lstStyle>
          <a:p>
            <a:pPr lvl="0"/>
            <a:r>
              <a:rPr lang="en-US"/>
              <a:t>Click to edit Master text styles</a:t>
            </a:r>
          </a:p>
        </p:txBody>
      </p:sp>
      <p:sp>
        <p:nvSpPr>
          <p:cNvPr id="5" name="Picture Placeholder 4"/>
          <p:cNvSpPr>
            <a:spLocks noGrp="1"/>
          </p:cNvSpPr>
          <p:nvPr>
            <p:ph type="pic" sz="quarter" idx="14"/>
          </p:nvPr>
        </p:nvSpPr>
        <p:spPr>
          <a:xfrm>
            <a:off x="595234" y="1467813"/>
            <a:ext cx="3407385" cy="1888067"/>
          </a:xfrm>
        </p:spPr>
        <p:txBody>
          <a:bodyPr/>
          <a:lstStyle/>
          <a:p>
            <a:r>
              <a:rPr lang="en-US"/>
              <a:t>Click icon to add picture</a:t>
            </a:r>
          </a:p>
        </p:txBody>
      </p:sp>
      <p:cxnSp>
        <p:nvCxnSpPr>
          <p:cNvPr id="10" name="Straight Connector 9"/>
          <p:cNvCxnSpPr/>
          <p:nvPr userDrawn="1"/>
        </p:nvCxnSpPr>
        <p:spPr>
          <a:xfrm>
            <a:off x="584970" y="3858747"/>
            <a:ext cx="3427717" cy="0"/>
          </a:xfrm>
          <a:prstGeom prst="line">
            <a:avLst/>
          </a:prstGeom>
          <a:ln w="635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3"/>
          <p:cNvSpPr>
            <a:spLocks noGrp="1"/>
          </p:cNvSpPr>
          <p:nvPr>
            <p:ph type="body" sz="quarter" idx="15"/>
          </p:nvPr>
        </p:nvSpPr>
        <p:spPr>
          <a:xfrm>
            <a:off x="4379642" y="3959323"/>
            <a:ext cx="3407639" cy="1541447"/>
          </a:xfrm>
        </p:spPr>
        <p:txBody>
          <a:bodyPr/>
          <a:lstStyle>
            <a:lvl1pPr marL="0" indent="0">
              <a:buNone/>
              <a:defRPr/>
            </a:lvl1pPr>
          </a:lstStyle>
          <a:p>
            <a:pPr lvl="0"/>
            <a:r>
              <a:rPr lang="en-US"/>
              <a:t>Click to edit Master text styles</a:t>
            </a:r>
          </a:p>
        </p:txBody>
      </p:sp>
      <p:sp>
        <p:nvSpPr>
          <p:cNvPr id="17" name="Text Placeholder 3"/>
          <p:cNvSpPr>
            <a:spLocks noGrp="1"/>
          </p:cNvSpPr>
          <p:nvPr>
            <p:ph type="body" sz="half" idx="16"/>
          </p:nvPr>
        </p:nvSpPr>
        <p:spPr>
          <a:xfrm>
            <a:off x="4384198" y="3413737"/>
            <a:ext cx="3403084" cy="401911"/>
          </a:xfrm>
        </p:spPr>
        <p:txBody>
          <a:bodyPr>
            <a:normAutofit/>
          </a:bodyPr>
          <a:lstStyle>
            <a:lvl1pPr marL="0" indent="0">
              <a:buNone/>
              <a:defRPr sz="1600">
                <a:solidFill>
                  <a:srgbClr val="070707"/>
                </a:solidFill>
              </a:defRPr>
            </a:lvl1pPr>
            <a:lvl2pPr marL="609515" indent="0">
              <a:buNone/>
              <a:defRPr sz="1600"/>
            </a:lvl2pPr>
            <a:lvl3pPr marL="1219031" indent="0">
              <a:buNone/>
              <a:defRPr sz="1333"/>
            </a:lvl3pPr>
            <a:lvl4pPr marL="1828546" indent="0">
              <a:buNone/>
              <a:defRPr sz="1200"/>
            </a:lvl4pPr>
            <a:lvl5pPr marL="2438062" indent="0">
              <a:buNone/>
              <a:defRPr sz="1200"/>
            </a:lvl5pPr>
            <a:lvl6pPr marL="3047577" indent="0">
              <a:buNone/>
              <a:defRPr sz="1200"/>
            </a:lvl6pPr>
            <a:lvl7pPr marL="3657093" indent="0">
              <a:buNone/>
              <a:defRPr sz="1200"/>
            </a:lvl7pPr>
            <a:lvl8pPr marL="4266608" indent="0">
              <a:buNone/>
              <a:defRPr sz="1200"/>
            </a:lvl8pPr>
            <a:lvl9pPr marL="4876123" indent="0">
              <a:buNone/>
              <a:defRPr sz="1200"/>
            </a:lvl9pPr>
          </a:lstStyle>
          <a:p>
            <a:pPr lvl="0"/>
            <a:r>
              <a:rPr lang="en-US"/>
              <a:t>Click to edit Master text styles</a:t>
            </a:r>
          </a:p>
        </p:txBody>
      </p:sp>
      <p:sp>
        <p:nvSpPr>
          <p:cNvPr id="18" name="Picture Placeholder 4"/>
          <p:cNvSpPr>
            <a:spLocks noGrp="1"/>
          </p:cNvSpPr>
          <p:nvPr>
            <p:ph type="pic" sz="quarter" idx="17"/>
          </p:nvPr>
        </p:nvSpPr>
        <p:spPr>
          <a:xfrm>
            <a:off x="4380090" y="1465761"/>
            <a:ext cx="3407385" cy="1888067"/>
          </a:xfrm>
        </p:spPr>
        <p:txBody>
          <a:bodyPr/>
          <a:lstStyle/>
          <a:p>
            <a:r>
              <a:rPr lang="en-US"/>
              <a:t>Click icon to add picture</a:t>
            </a:r>
          </a:p>
        </p:txBody>
      </p:sp>
      <p:cxnSp>
        <p:nvCxnSpPr>
          <p:cNvPr id="19" name="Straight Connector 18"/>
          <p:cNvCxnSpPr/>
          <p:nvPr userDrawn="1"/>
        </p:nvCxnSpPr>
        <p:spPr>
          <a:xfrm>
            <a:off x="4369826" y="3856695"/>
            <a:ext cx="3427717" cy="0"/>
          </a:xfrm>
          <a:prstGeom prst="line">
            <a:avLst/>
          </a:prstGeom>
          <a:ln w="635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3"/>
          <p:cNvSpPr>
            <a:spLocks noGrp="1"/>
          </p:cNvSpPr>
          <p:nvPr>
            <p:ph type="body" sz="quarter" idx="18"/>
          </p:nvPr>
        </p:nvSpPr>
        <p:spPr>
          <a:xfrm>
            <a:off x="8185026" y="3957271"/>
            <a:ext cx="3407639" cy="1541447"/>
          </a:xfrm>
        </p:spPr>
        <p:txBody>
          <a:bodyPr/>
          <a:lstStyle>
            <a:lvl1pPr marL="0" indent="0">
              <a:buNone/>
              <a:defRPr/>
            </a:lvl1pPr>
            <a:lvl2pPr marL="609515" indent="0">
              <a:buNone/>
              <a:defRPr/>
            </a:lvl2pPr>
          </a:lstStyle>
          <a:p>
            <a:pPr lvl="0"/>
            <a:r>
              <a:rPr lang="en-US"/>
              <a:t>Click to edit Master text styles</a:t>
            </a:r>
          </a:p>
        </p:txBody>
      </p:sp>
      <p:sp>
        <p:nvSpPr>
          <p:cNvPr id="21" name="Text Placeholder 3"/>
          <p:cNvSpPr>
            <a:spLocks noGrp="1"/>
          </p:cNvSpPr>
          <p:nvPr>
            <p:ph type="body" sz="half" idx="19"/>
          </p:nvPr>
        </p:nvSpPr>
        <p:spPr>
          <a:xfrm>
            <a:off x="8189579" y="3411685"/>
            <a:ext cx="3403084" cy="401911"/>
          </a:xfrm>
        </p:spPr>
        <p:txBody>
          <a:bodyPr>
            <a:normAutofit/>
          </a:bodyPr>
          <a:lstStyle>
            <a:lvl1pPr marL="0" indent="0">
              <a:buNone/>
              <a:defRPr sz="1600">
                <a:solidFill>
                  <a:srgbClr val="070707"/>
                </a:solidFill>
              </a:defRPr>
            </a:lvl1pPr>
            <a:lvl2pPr marL="609515" indent="0">
              <a:buNone/>
              <a:defRPr sz="1600"/>
            </a:lvl2pPr>
            <a:lvl3pPr marL="1219031" indent="0">
              <a:buNone/>
              <a:defRPr sz="1333"/>
            </a:lvl3pPr>
            <a:lvl4pPr marL="1828546" indent="0">
              <a:buNone/>
              <a:defRPr sz="1200"/>
            </a:lvl4pPr>
            <a:lvl5pPr marL="2438062" indent="0">
              <a:buNone/>
              <a:defRPr sz="1200"/>
            </a:lvl5pPr>
            <a:lvl6pPr marL="3047577" indent="0">
              <a:buNone/>
              <a:defRPr sz="1200"/>
            </a:lvl6pPr>
            <a:lvl7pPr marL="3657093" indent="0">
              <a:buNone/>
              <a:defRPr sz="1200"/>
            </a:lvl7pPr>
            <a:lvl8pPr marL="4266608" indent="0">
              <a:buNone/>
              <a:defRPr sz="1200"/>
            </a:lvl8pPr>
            <a:lvl9pPr marL="4876123" indent="0">
              <a:buNone/>
              <a:defRPr sz="1200"/>
            </a:lvl9pPr>
          </a:lstStyle>
          <a:p>
            <a:pPr lvl="0"/>
            <a:r>
              <a:rPr lang="en-US"/>
              <a:t>Click to edit Master text styles</a:t>
            </a:r>
          </a:p>
        </p:txBody>
      </p:sp>
      <p:sp>
        <p:nvSpPr>
          <p:cNvPr id="22" name="Picture Placeholder 4"/>
          <p:cNvSpPr>
            <a:spLocks noGrp="1"/>
          </p:cNvSpPr>
          <p:nvPr>
            <p:ph type="pic" sz="quarter" idx="20"/>
          </p:nvPr>
        </p:nvSpPr>
        <p:spPr>
          <a:xfrm>
            <a:off x="8185473" y="1463709"/>
            <a:ext cx="3407385" cy="1888067"/>
          </a:xfrm>
        </p:spPr>
        <p:txBody>
          <a:bodyPr/>
          <a:lstStyle/>
          <a:p>
            <a:r>
              <a:rPr lang="en-US"/>
              <a:t>Click icon to add picture</a:t>
            </a:r>
          </a:p>
        </p:txBody>
      </p:sp>
      <p:cxnSp>
        <p:nvCxnSpPr>
          <p:cNvPr id="23" name="Straight Connector 22"/>
          <p:cNvCxnSpPr/>
          <p:nvPr userDrawn="1"/>
        </p:nvCxnSpPr>
        <p:spPr>
          <a:xfrm>
            <a:off x="8175208" y="3854643"/>
            <a:ext cx="3427717" cy="0"/>
          </a:xfrm>
          <a:prstGeom prst="line">
            <a:avLst/>
          </a:prstGeom>
          <a:ln w="635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24" name="Text Placeholder 13">
            <a:extLst>
              <a:ext uri="{FF2B5EF4-FFF2-40B4-BE49-F238E27FC236}">
                <a16:creationId xmlns:a16="http://schemas.microsoft.com/office/drawing/2014/main" id="{6E3FB428-4F15-40CE-9A7D-CEA79CD13588}"/>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18844210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4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Text Placeholder 13"/>
          <p:cNvSpPr>
            <a:spLocks noGrp="1"/>
          </p:cNvSpPr>
          <p:nvPr>
            <p:ph type="body" sz="quarter" idx="11"/>
          </p:nvPr>
        </p:nvSpPr>
        <p:spPr>
          <a:xfrm>
            <a:off x="594787" y="1506553"/>
            <a:ext cx="2473740" cy="3930587"/>
          </a:xfrm>
        </p:spPr>
        <p:txBody>
          <a:bodyPr/>
          <a:lstStyle>
            <a:lvl1pPr marL="0" indent="0">
              <a:buNone/>
              <a:defRPr/>
            </a:lvl1pPr>
            <a:lvl5pPr marL="2438062" indent="0">
              <a:buNone/>
              <a:defRPr/>
            </a:lvl5pPr>
          </a:lstStyle>
          <a:p>
            <a:pPr lvl="0"/>
            <a:r>
              <a:rPr lang="en-US"/>
              <a:t>Click to edit Master text styles</a:t>
            </a:r>
          </a:p>
        </p:txBody>
      </p:sp>
      <p:sp>
        <p:nvSpPr>
          <p:cNvPr id="13" name="Text Placeholder 13"/>
          <p:cNvSpPr>
            <a:spLocks noGrp="1"/>
          </p:cNvSpPr>
          <p:nvPr>
            <p:ph type="body" sz="quarter" idx="12"/>
          </p:nvPr>
        </p:nvSpPr>
        <p:spPr>
          <a:xfrm>
            <a:off x="3443007" y="1506553"/>
            <a:ext cx="2473740" cy="3930587"/>
          </a:xfrm>
        </p:spPr>
        <p:txBody>
          <a:bodyPr/>
          <a:lstStyle>
            <a:lvl1pPr marL="0" indent="0">
              <a:buNone/>
              <a:defRPr/>
            </a:lvl1pPr>
            <a:lvl5pPr marL="2438062" indent="0">
              <a:buNone/>
              <a:defRPr/>
            </a:lvl5pPr>
          </a:lstStyle>
          <a:p>
            <a:pPr lvl="0"/>
            <a:r>
              <a:rPr lang="en-US"/>
              <a:t>Click to edit Master text styles</a:t>
            </a:r>
          </a:p>
        </p:txBody>
      </p:sp>
      <p:sp>
        <p:nvSpPr>
          <p:cNvPr id="17" name="Text Placeholder 13"/>
          <p:cNvSpPr>
            <a:spLocks noGrp="1"/>
          </p:cNvSpPr>
          <p:nvPr>
            <p:ph type="body" sz="quarter" idx="13"/>
          </p:nvPr>
        </p:nvSpPr>
        <p:spPr>
          <a:xfrm>
            <a:off x="6291229" y="1506553"/>
            <a:ext cx="2473740" cy="3930587"/>
          </a:xfrm>
        </p:spPr>
        <p:txBody>
          <a:bodyPr/>
          <a:lstStyle>
            <a:lvl1pPr marL="0" indent="0">
              <a:buNone/>
              <a:defRPr/>
            </a:lvl1pPr>
            <a:lvl5pPr marL="2438062" indent="0">
              <a:buNone/>
              <a:defRPr/>
            </a:lvl5pPr>
          </a:lstStyle>
          <a:p>
            <a:pPr lvl="0"/>
            <a:r>
              <a:rPr lang="en-US"/>
              <a:t>Click to edit Master text styles</a:t>
            </a:r>
          </a:p>
        </p:txBody>
      </p:sp>
      <p:sp>
        <p:nvSpPr>
          <p:cNvPr id="18" name="Text Placeholder 13"/>
          <p:cNvSpPr>
            <a:spLocks noGrp="1"/>
          </p:cNvSpPr>
          <p:nvPr>
            <p:ph type="body" sz="quarter" idx="14"/>
          </p:nvPr>
        </p:nvSpPr>
        <p:spPr>
          <a:xfrm>
            <a:off x="9139451" y="1506553"/>
            <a:ext cx="2473740" cy="3930587"/>
          </a:xfrm>
        </p:spPr>
        <p:txBody>
          <a:bodyPr/>
          <a:lstStyle>
            <a:lvl1pPr marL="0" indent="0">
              <a:buNone/>
              <a:defRPr/>
            </a:lvl1pPr>
            <a:lvl5pPr marL="2438062" indent="0">
              <a:buNone/>
              <a:defRPr/>
            </a:lvl5pPr>
          </a:lstStyle>
          <a:p>
            <a:pPr lvl="0"/>
            <a:r>
              <a:rPr lang="en-US"/>
              <a:t>Click to edit Master text styles</a:t>
            </a:r>
          </a:p>
        </p:txBody>
      </p:sp>
      <p:sp>
        <p:nvSpPr>
          <p:cNvPr id="9" name="Text Placeholder 13">
            <a:extLst>
              <a:ext uri="{FF2B5EF4-FFF2-40B4-BE49-F238E27FC236}">
                <a16:creationId xmlns:a16="http://schemas.microsoft.com/office/drawing/2014/main" id="{6D687D05-611C-4F4D-819C-FDF596732C1A}"/>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35279042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4 column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Text Placeholder 13"/>
          <p:cNvSpPr>
            <a:spLocks noGrp="1"/>
          </p:cNvSpPr>
          <p:nvPr>
            <p:ph type="body" sz="quarter" idx="11"/>
          </p:nvPr>
        </p:nvSpPr>
        <p:spPr>
          <a:xfrm>
            <a:off x="594787" y="4166627"/>
            <a:ext cx="2473740" cy="1270512"/>
          </a:xfrm>
        </p:spPr>
        <p:txBody>
          <a:bodyPr/>
          <a:lstStyle>
            <a:lvl1pPr marL="0" indent="0">
              <a:buNone/>
              <a:defRPr/>
            </a:lvl1pPr>
            <a:lvl5pPr marL="2438062" indent="0">
              <a:buNone/>
              <a:defRPr/>
            </a:lvl5pPr>
          </a:lstStyle>
          <a:p>
            <a:pPr lvl="0"/>
            <a:r>
              <a:rPr lang="en-US"/>
              <a:t>Click to edit Master text styles</a:t>
            </a:r>
          </a:p>
          <a:p>
            <a:pPr lvl="1"/>
            <a:r>
              <a:rPr lang="en-US"/>
              <a:t>Second level</a:t>
            </a:r>
          </a:p>
        </p:txBody>
      </p:sp>
      <p:sp>
        <p:nvSpPr>
          <p:cNvPr id="8" name="Text Placeholder 3"/>
          <p:cNvSpPr>
            <a:spLocks noGrp="1"/>
          </p:cNvSpPr>
          <p:nvPr>
            <p:ph type="body" sz="half" idx="2"/>
          </p:nvPr>
        </p:nvSpPr>
        <p:spPr>
          <a:xfrm>
            <a:off x="599341" y="3446577"/>
            <a:ext cx="2469184" cy="637631"/>
          </a:xfrm>
        </p:spPr>
        <p:txBody>
          <a:bodyPr>
            <a:normAutofit/>
          </a:bodyPr>
          <a:lstStyle>
            <a:lvl1pPr marL="0" indent="0">
              <a:buNone/>
              <a:defRPr sz="1600">
                <a:solidFill>
                  <a:srgbClr val="070707"/>
                </a:solidFill>
              </a:defRPr>
            </a:lvl1pPr>
            <a:lvl2pPr marL="609515" indent="0">
              <a:buNone/>
              <a:defRPr sz="1600"/>
            </a:lvl2pPr>
            <a:lvl3pPr marL="1219031" indent="0">
              <a:buNone/>
              <a:defRPr sz="1333"/>
            </a:lvl3pPr>
            <a:lvl4pPr marL="1828546" indent="0">
              <a:buNone/>
              <a:defRPr sz="1200"/>
            </a:lvl4pPr>
            <a:lvl5pPr marL="2438062" indent="0">
              <a:buNone/>
              <a:defRPr sz="1200"/>
            </a:lvl5pPr>
            <a:lvl6pPr marL="3047577" indent="0">
              <a:buNone/>
              <a:defRPr sz="1200"/>
            </a:lvl6pPr>
            <a:lvl7pPr marL="3657093" indent="0">
              <a:buNone/>
              <a:defRPr sz="1200"/>
            </a:lvl7pPr>
            <a:lvl8pPr marL="4266608" indent="0">
              <a:buNone/>
              <a:defRPr sz="1200"/>
            </a:lvl8pPr>
            <a:lvl9pPr marL="4876123" indent="0">
              <a:buNone/>
              <a:defRPr sz="1200"/>
            </a:lvl9pPr>
          </a:lstStyle>
          <a:p>
            <a:pPr lvl="0"/>
            <a:r>
              <a:rPr lang="en-US"/>
              <a:t>Click to edit Master text styles</a:t>
            </a:r>
          </a:p>
        </p:txBody>
      </p:sp>
      <p:sp>
        <p:nvSpPr>
          <p:cNvPr id="9" name="Picture Placeholder 4"/>
          <p:cNvSpPr>
            <a:spLocks noGrp="1"/>
          </p:cNvSpPr>
          <p:nvPr>
            <p:ph type="pic" sz="quarter" idx="15"/>
          </p:nvPr>
        </p:nvSpPr>
        <p:spPr>
          <a:xfrm>
            <a:off x="595234" y="1467813"/>
            <a:ext cx="2473293" cy="1888067"/>
          </a:xfrm>
        </p:spPr>
        <p:txBody>
          <a:bodyPr/>
          <a:lstStyle/>
          <a:p>
            <a:r>
              <a:rPr lang="en-US"/>
              <a:t>Click icon to add picture</a:t>
            </a:r>
          </a:p>
        </p:txBody>
      </p:sp>
      <p:cxnSp>
        <p:nvCxnSpPr>
          <p:cNvPr id="10" name="Straight Connector 9"/>
          <p:cNvCxnSpPr/>
          <p:nvPr userDrawn="1"/>
        </p:nvCxnSpPr>
        <p:spPr>
          <a:xfrm>
            <a:off x="584971" y="4084205"/>
            <a:ext cx="2483556" cy="0"/>
          </a:xfrm>
          <a:prstGeom prst="line">
            <a:avLst/>
          </a:prstGeom>
          <a:ln w="635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3"/>
          <p:cNvSpPr>
            <a:spLocks noGrp="1"/>
          </p:cNvSpPr>
          <p:nvPr>
            <p:ph type="body" sz="quarter" idx="16"/>
          </p:nvPr>
        </p:nvSpPr>
        <p:spPr>
          <a:xfrm>
            <a:off x="3445743" y="4164575"/>
            <a:ext cx="2473740" cy="1270512"/>
          </a:xfrm>
        </p:spPr>
        <p:txBody>
          <a:bodyPr/>
          <a:lstStyle>
            <a:lvl1pPr marL="0" indent="0">
              <a:buNone/>
              <a:defRPr/>
            </a:lvl1pPr>
            <a:lvl5pPr marL="2438062" indent="0">
              <a:buNone/>
              <a:defRPr/>
            </a:lvl5pPr>
          </a:lstStyle>
          <a:p>
            <a:pPr lvl="0"/>
            <a:r>
              <a:rPr lang="en-US"/>
              <a:t>Click to edit Master text styles</a:t>
            </a:r>
          </a:p>
          <a:p>
            <a:pPr lvl="1"/>
            <a:r>
              <a:rPr lang="en-US"/>
              <a:t>Second level</a:t>
            </a:r>
          </a:p>
        </p:txBody>
      </p:sp>
      <p:sp>
        <p:nvSpPr>
          <p:cNvPr id="15" name="Text Placeholder 3"/>
          <p:cNvSpPr>
            <a:spLocks noGrp="1"/>
          </p:cNvSpPr>
          <p:nvPr>
            <p:ph type="body" sz="half" idx="17"/>
          </p:nvPr>
        </p:nvSpPr>
        <p:spPr>
          <a:xfrm>
            <a:off x="3450299" y="3444525"/>
            <a:ext cx="2469184" cy="637631"/>
          </a:xfrm>
        </p:spPr>
        <p:txBody>
          <a:bodyPr>
            <a:normAutofit/>
          </a:bodyPr>
          <a:lstStyle>
            <a:lvl1pPr marL="0" indent="0">
              <a:buNone/>
              <a:defRPr sz="1600">
                <a:solidFill>
                  <a:srgbClr val="070707"/>
                </a:solidFill>
              </a:defRPr>
            </a:lvl1pPr>
            <a:lvl2pPr marL="609515" indent="0">
              <a:buNone/>
              <a:defRPr sz="1600"/>
            </a:lvl2pPr>
            <a:lvl3pPr marL="1219031" indent="0">
              <a:buNone/>
              <a:defRPr sz="1333"/>
            </a:lvl3pPr>
            <a:lvl4pPr marL="1828546" indent="0">
              <a:buNone/>
              <a:defRPr sz="1200"/>
            </a:lvl4pPr>
            <a:lvl5pPr marL="2438062" indent="0">
              <a:buNone/>
              <a:defRPr sz="1200"/>
            </a:lvl5pPr>
            <a:lvl6pPr marL="3047577" indent="0">
              <a:buNone/>
              <a:defRPr sz="1200"/>
            </a:lvl6pPr>
            <a:lvl7pPr marL="3657093" indent="0">
              <a:buNone/>
              <a:defRPr sz="1200"/>
            </a:lvl7pPr>
            <a:lvl8pPr marL="4266608" indent="0">
              <a:buNone/>
              <a:defRPr sz="1200"/>
            </a:lvl8pPr>
            <a:lvl9pPr marL="4876123" indent="0">
              <a:buNone/>
              <a:defRPr sz="1200"/>
            </a:lvl9pPr>
          </a:lstStyle>
          <a:p>
            <a:pPr lvl="0"/>
            <a:r>
              <a:rPr lang="en-US"/>
              <a:t>Click to edit Master text styles</a:t>
            </a:r>
          </a:p>
        </p:txBody>
      </p:sp>
      <p:sp>
        <p:nvSpPr>
          <p:cNvPr id="16" name="Picture Placeholder 4"/>
          <p:cNvSpPr>
            <a:spLocks noGrp="1"/>
          </p:cNvSpPr>
          <p:nvPr>
            <p:ph type="pic" sz="quarter" idx="18"/>
          </p:nvPr>
        </p:nvSpPr>
        <p:spPr>
          <a:xfrm>
            <a:off x="3446192" y="1465761"/>
            <a:ext cx="2473293" cy="1888067"/>
          </a:xfrm>
        </p:spPr>
        <p:txBody>
          <a:bodyPr/>
          <a:lstStyle/>
          <a:p>
            <a:r>
              <a:rPr lang="en-US"/>
              <a:t>Click icon to add picture</a:t>
            </a:r>
          </a:p>
        </p:txBody>
      </p:sp>
      <p:cxnSp>
        <p:nvCxnSpPr>
          <p:cNvPr id="19" name="Straight Connector 18"/>
          <p:cNvCxnSpPr/>
          <p:nvPr userDrawn="1"/>
        </p:nvCxnSpPr>
        <p:spPr>
          <a:xfrm>
            <a:off x="3435929" y="4082153"/>
            <a:ext cx="2483556" cy="0"/>
          </a:xfrm>
          <a:prstGeom prst="line">
            <a:avLst/>
          </a:prstGeom>
          <a:ln w="635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3"/>
          <p:cNvSpPr>
            <a:spLocks noGrp="1"/>
          </p:cNvSpPr>
          <p:nvPr>
            <p:ph type="body" sz="quarter" idx="19"/>
          </p:nvPr>
        </p:nvSpPr>
        <p:spPr>
          <a:xfrm>
            <a:off x="6288491" y="4164575"/>
            <a:ext cx="2473740" cy="1270512"/>
          </a:xfrm>
        </p:spPr>
        <p:txBody>
          <a:bodyPr/>
          <a:lstStyle>
            <a:lvl1pPr marL="0" indent="0">
              <a:buNone/>
              <a:defRPr/>
            </a:lvl1pPr>
            <a:lvl5pPr marL="2438062" indent="0">
              <a:buNone/>
              <a:defRPr/>
            </a:lvl5pPr>
          </a:lstStyle>
          <a:p>
            <a:pPr lvl="0"/>
            <a:r>
              <a:rPr lang="en-US"/>
              <a:t>Click to edit Master text styles</a:t>
            </a:r>
          </a:p>
          <a:p>
            <a:pPr lvl="1"/>
            <a:r>
              <a:rPr lang="en-US"/>
              <a:t>Second level</a:t>
            </a:r>
          </a:p>
        </p:txBody>
      </p:sp>
      <p:sp>
        <p:nvSpPr>
          <p:cNvPr id="21" name="Text Placeholder 3"/>
          <p:cNvSpPr>
            <a:spLocks noGrp="1"/>
          </p:cNvSpPr>
          <p:nvPr>
            <p:ph type="body" sz="half" idx="20"/>
          </p:nvPr>
        </p:nvSpPr>
        <p:spPr>
          <a:xfrm>
            <a:off x="6293047" y="3444525"/>
            <a:ext cx="2469184" cy="637631"/>
          </a:xfrm>
        </p:spPr>
        <p:txBody>
          <a:bodyPr>
            <a:normAutofit/>
          </a:bodyPr>
          <a:lstStyle>
            <a:lvl1pPr marL="0" indent="0">
              <a:buNone/>
              <a:defRPr sz="1600">
                <a:solidFill>
                  <a:srgbClr val="070707"/>
                </a:solidFill>
              </a:defRPr>
            </a:lvl1pPr>
            <a:lvl2pPr marL="609515" indent="0">
              <a:buNone/>
              <a:defRPr sz="1600"/>
            </a:lvl2pPr>
            <a:lvl3pPr marL="1219031" indent="0">
              <a:buNone/>
              <a:defRPr sz="1333"/>
            </a:lvl3pPr>
            <a:lvl4pPr marL="1828546" indent="0">
              <a:buNone/>
              <a:defRPr sz="1200"/>
            </a:lvl4pPr>
            <a:lvl5pPr marL="2438062" indent="0">
              <a:buNone/>
              <a:defRPr sz="1200"/>
            </a:lvl5pPr>
            <a:lvl6pPr marL="3047577" indent="0">
              <a:buNone/>
              <a:defRPr sz="1200"/>
            </a:lvl6pPr>
            <a:lvl7pPr marL="3657093" indent="0">
              <a:buNone/>
              <a:defRPr sz="1200"/>
            </a:lvl7pPr>
            <a:lvl8pPr marL="4266608" indent="0">
              <a:buNone/>
              <a:defRPr sz="1200"/>
            </a:lvl8pPr>
            <a:lvl9pPr marL="4876123" indent="0">
              <a:buNone/>
              <a:defRPr sz="1200"/>
            </a:lvl9pPr>
          </a:lstStyle>
          <a:p>
            <a:pPr lvl="0"/>
            <a:r>
              <a:rPr lang="en-US"/>
              <a:t>Click to edit Master text styles</a:t>
            </a:r>
          </a:p>
        </p:txBody>
      </p:sp>
      <p:sp>
        <p:nvSpPr>
          <p:cNvPr id="22" name="Picture Placeholder 4"/>
          <p:cNvSpPr>
            <a:spLocks noGrp="1"/>
          </p:cNvSpPr>
          <p:nvPr>
            <p:ph type="pic" sz="quarter" idx="21"/>
          </p:nvPr>
        </p:nvSpPr>
        <p:spPr>
          <a:xfrm>
            <a:off x="6288940" y="1465761"/>
            <a:ext cx="2473293" cy="1888067"/>
          </a:xfrm>
        </p:spPr>
        <p:txBody>
          <a:bodyPr/>
          <a:lstStyle/>
          <a:p>
            <a:r>
              <a:rPr lang="en-US"/>
              <a:t>Click icon to add picture</a:t>
            </a:r>
          </a:p>
        </p:txBody>
      </p:sp>
      <p:cxnSp>
        <p:nvCxnSpPr>
          <p:cNvPr id="23" name="Straight Connector 22"/>
          <p:cNvCxnSpPr/>
          <p:nvPr userDrawn="1"/>
        </p:nvCxnSpPr>
        <p:spPr>
          <a:xfrm>
            <a:off x="6278677" y="4082153"/>
            <a:ext cx="2483556" cy="0"/>
          </a:xfrm>
          <a:prstGeom prst="line">
            <a:avLst/>
          </a:prstGeom>
          <a:ln w="635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24" name="Text Placeholder 13"/>
          <p:cNvSpPr>
            <a:spLocks noGrp="1"/>
          </p:cNvSpPr>
          <p:nvPr>
            <p:ph type="body" sz="quarter" idx="22"/>
          </p:nvPr>
        </p:nvSpPr>
        <p:spPr>
          <a:xfrm>
            <a:off x="9141501" y="4164575"/>
            <a:ext cx="2473740" cy="1270512"/>
          </a:xfrm>
        </p:spPr>
        <p:txBody>
          <a:bodyPr/>
          <a:lstStyle>
            <a:lvl1pPr marL="0" indent="0">
              <a:buNone/>
              <a:defRPr/>
            </a:lvl1pPr>
            <a:lvl5pPr marL="2438062" indent="0">
              <a:buNone/>
              <a:defRPr/>
            </a:lvl5pPr>
          </a:lstStyle>
          <a:p>
            <a:pPr lvl="0"/>
            <a:r>
              <a:rPr lang="en-US"/>
              <a:t>Click to edit Master text styles</a:t>
            </a:r>
          </a:p>
          <a:p>
            <a:pPr lvl="1"/>
            <a:r>
              <a:rPr lang="en-US"/>
              <a:t>Second level</a:t>
            </a:r>
          </a:p>
        </p:txBody>
      </p:sp>
      <p:sp>
        <p:nvSpPr>
          <p:cNvPr id="25" name="Text Placeholder 3"/>
          <p:cNvSpPr>
            <a:spLocks noGrp="1"/>
          </p:cNvSpPr>
          <p:nvPr>
            <p:ph type="body" sz="half" idx="23"/>
          </p:nvPr>
        </p:nvSpPr>
        <p:spPr>
          <a:xfrm>
            <a:off x="9146056" y="3444525"/>
            <a:ext cx="2469184" cy="637631"/>
          </a:xfrm>
        </p:spPr>
        <p:txBody>
          <a:bodyPr>
            <a:normAutofit/>
          </a:bodyPr>
          <a:lstStyle>
            <a:lvl1pPr marL="0" indent="0">
              <a:buNone/>
              <a:defRPr sz="1600">
                <a:solidFill>
                  <a:srgbClr val="070707"/>
                </a:solidFill>
              </a:defRPr>
            </a:lvl1pPr>
            <a:lvl2pPr marL="609515" indent="0">
              <a:buNone/>
              <a:defRPr sz="1600"/>
            </a:lvl2pPr>
            <a:lvl3pPr marL="1219031" indent="0">
              <a:buNone/>
              <a:defRPr sz="1333"/>
            </a:lvl3pPr>
            <a:lvl4pPr marL="1828546" indent="0">
              <a:buNone/>
              <a:defRPr sz="1200"/>
            </a:lvl4pPr>
            <a:lvl5pPr marL="2438062" indent="0">
              <a:buNone/>
              <a:defRPr sz="1200"/>
            </a:lvl5pPr>
            <a:lvl6pPr marL="3047577" indent="0">
              <a:buNone/>
              <a:defRPr sz="1200"/>
            </a:lvl6pPr>
            <a:lvl7pPr marL="3657093" indent="0">
              <a:buNone/>
              <a:defRPr sz="1200"/>
            </a:lvl7pPr>
            <a:lvl8pPr marL="4266608" indent="0">
              <a:buNone/>
              <a:defRPr sz="1200"/>
            </a:lvl8pPr>
            <a:lvl9pPr marL="4876123" indent="0">
              <a:buNone/>
              <a:defRPr sz="1200"/>
            </a:lvl9pPr>
          </a:lstStyle>
          <a:p>
            <a:pPr lvl="0"/>
            <a:r>
              <a:rPr lang="en-US"/>
              <a:t>Click to edit Master text styles</a:t>
            </a:r>
          </a:p>
        </p:txBody>
      </p:sp>
      <p:sp>
        <p:nvSpPr>
          <p:cNvPr id="26" name="Picture Placeholder 4"/>
          <p:cNvSpPr>
            <a:spLocks noGrp="1"/>
          </p:cNvSpPr>
          <p:nvPr>
            <p:ph type="pic" sz="quarter" idx="24"/>
          </p:nvPr>
        </p:nvSpPr>
        <p:spPr>
          <a:xfrm>
            <a:off x="9141950" y="1465761"/>
            <a:ext cx="2473293" cy="1888067"/>
          </a:xfrm>
        </p:spPr>
        <p:txBody>
          <a:bodyPr/>
          <a:lstStyle/>
          <a:p>
            <a:r>
              <a:rPr lang="en-US"/>
              <a:t>Click icon to add picture</a:t>
            </a:r>
          </a:p>
        </p:txBody>
      </p:sp>
      <p:cxnSp>
        <p:nvCxnSpPr>
          <p:cNvPr id="27" name="Straight Connector 26"/>
          <p:cNvCxnSpPr/>
          <p:nvPr userDrawn="1"/>
        </p:nvCxnSpPr>
        <p:spPr>
          <a:xfrm>
            <a:off x="9131686" y="4082153"/>
            <a:ext cx="2483556" cy="0"/>
          </a:xfrm>
          <a:prstGeom prst="line">
            <a:avLst/>
          </a:prstGeom>
          <a:ln w="635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29" name="Text Placeholder 13">
            <a:extLst>
              <a:ext uri="{FF2B5EF4-FFF2-40B4-BE49-F238E27FC236}">
                <a16:creationId xmlns:a16="http://schemas.microsoft.com/office/drawing/2014/main" id="{B05E61E7-CF33-4680-AF81-39C145650135}"/>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22861639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4 column with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Text Placeholder 13"/>
          <p:cNvSpPr>
            <a:spLocks noGrp="1"/>
          </p:cNvSpPr>
          <p:nvPr>
            <p:ph type="body" sz="quarter" idx="11"/>
          </p:nvPr>
        </p:nvSpPr>
        <p:spPr>
          <a:xfrm>
            <a:off x="594787" y="4166627"/>
            <a:ext cx="2473740" cy="1270512"/>
          </a:xfrm>
        </p:spPr>
        <p:txBody>
          <a:bodyPr/>
          <a:lstStyle>
            <a:lvl1pPr marL="0" indent="0">
              <a:buNone/>
              <a:defRPr/>
            </a:lvl1pPr>
            <a:lvl5pPr marL="2438062" indent="0">
              <a:buNone/>
              <a:defRPr/>
            </a:lvl5pPr>
          </a:lstStyle>
          <a:p>
            <a:pPr lvl="0"/>
            <a:r>
              <a:rPr lang="en-US"/>
              <a:t>Click to edit Master text styles</a:t>
            </a:r>
          </a:p>
        </p:txBody>
      </p:sp>
      <p:sp>
        <p:nvSpPr>
          <p:cNvPr id="8" name="Text Placeholder 3"/>
          <p:cNvSpPr>
            <a:spLocks noGrp="1"/>
          </p:cNvSpPr>
          <p:nvPr>
            <p:ph type="body" sz="half" idx="2"/>
          </p:nvPr>
        </p:nvSpPr>
        <p:spPr>
          <a:xfrm>
            <a:off x="599341" y="3446577"/>
            <a:ext cx="2469184" cy="637631"/>
          </a:xfrm>
        </p:spPr>
        <p:txBody>
          <a:bodyPr>
            <a:normAutofit/>
          </a:bodyPr>
          <a:lstStyle>
            <a:lvl1pPr marL="0" indent="0">
              <a:buNone/>
              <a:defRPr sz="1600">
                <a:solidFill>
                  <a:srgbClr val="070707"/>
                </a:solidFill>
              </a:defRPr>
            </a:lvl1pPr>
            <a:lvl2pPr marL="609515" indent="0">
              <a:buNone/>
              <a:defRPr sz="1600"/>
            </a:lvl2pPr>
            <a:lvl3pPr marL="1219031" indent="0">
              <a:buNone/>
              <a:defRPr sz="1333"/>
            </a:lvl3pPr>
            <a:lvl4pPr marL="1828546" indent="0">
              <a:buNone/>
              <a:defRPr sz="1200"/>
            </a:lvl4pPr>
            <a:lvl5pPr marL="2438062" indent="0">
              <a:buNone/>
              <a:defRPr sz="1200"/>
            </a:lvl5pPr>
            <a:lvl6pPr marL="3047577" indent="0">
              <a:buNone/>
              <a:defRPr sz="1200"/>
            </a:lvl6pPr>
            <a:lvl7pPr marL="3657093" indent="0">
              <a:buNone/>
              <a:defRPr sz="1200"/>
            </a:lvl7pPr>
            <a:lvl8pPr marL="4266608" indent="0">
              <a:buNone/>
              <a:defRPr sz="1200"/>
            </a:lvl8pPr>
            <a:lvl9pPr marL="4876123" indent="0">
              <a:buNone/>
              <a:defRPr sz="1200"/>
            </a:lvl9pPr>
          </a:lstStyle>
          <a:p>
            <a:pPr lvl="0"/>
            <a:r>
              <a:rPr lang="en-US"/>
              <a:t>Click to edit Master text styles</a:t>
            </a:r>
          </a:p>
        </p:txBody>
      </p:sp>
      <p:cxnSp>
        <p:nvCxnSpPr>
          <p:cNvPr id="10" name="Straight Connector 9"/>
          <p:cNvCxnSpPr/>
          <p:nvPr userDrawn="1"/>
        </p:nvCxnSpPr>
        <p:spPr>
          <a:xfrm>
            <a:off x="584971" y="4084205"/>
            <a:ext cx="2483556" cy="0"/>
          </a:xfrm>
          <a:prstGeom prst="line">
            <a:avLst/>
          </a:prstGeom>
          <a:ln w="635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5" name="Chart Placeholder 4"/>
          <p:cNvSpPr>
            <a:spLocks noGrp="1"/>
          </p:cNvSpPr>
          <p:nvPr>
            <p:ph type="chart" sz="quarter" idx="25"/>
          </p:nvPr>
        </p:nvSpPr>
        <p:spPr>
          <a:xfrm>
            <a:off x="595234" y="1466725"/>
            <a:ext cx="2473293" cy="1909681"/>
          </a:xfrm>
        </p:spPr>
        <p:txBody>
          <a:bodyPr/>
          <a:lstStyle/>
          <a:p>
            <a:r>
              <a:rPr lang="en-US"/>
              <a:t>Click icon to add chart</a:t>
            </a:r>
          </a:p>
        </p:txBody>
      </p:sp>
      <p:sp>
        <p:nvSpPr>
          <p:cNvPr id="28" name="Text Placeholder 13"/>
          <p:cNvSpPr>
            <a:spLocks noGrp="1"/>
          </p:cNvSpPr>
          <p:nvPr>
            <p:ph type="body" sz="quarter" idx="26"/>
          </p:nvPr>
        </p:nvSpPr>
        <p:spPr>
          <a:xfrm>
            <a:off x="3445742" y="4164575"/>
            <a:ext cx="2473740" cy="1270512"/>
          </a:xfrm>
        </p:spPr>
        <p:txBody>
          <a:bodyPr/>
          <a:lstStyle>
            <a:lvl1pPr marL="0" indent="0">
              <a:buNone/>
              <a:defRPr/>
            </a:lvl1pPr>
            <a:lvl5pPr marL="2438062" indent="0">
              <a:buNone/>
              <a:defRPr/>
            </a:lvl5pPr>
          </a:lstStyle>
          <a:p>
            <a:pPr lvl="0"/>
            <a:r>
              <a:rPr lang="en-US"/>
              <a:t>Click to edit Master text styles</a:t>
            </a:r>
          </a:p>
        </p:txBody>
      </p:sp>
      <p:sp>
        <p:nvSpPr>
          <p:cNvPr id="29" name="Text Placeholder 3"/>
          <p:cNvSpPr>
            <a:spLocks noGrp="1"/>
          </p:cNvSpPr>
          <p:nvPr>
            <p:ph type="body" sz="half" idx="27"/>
          </p:nvPr>
        </p:nvSpPr>
        <p:spPr>
          <a:xfrm>
            <a:off x="3450297" y="3444525"/>
            <a:ext cx="2469184" cy="637631"/>
          </a:xfrm>
        </p:spPr>
        <p:txBody>
          <a:bodyPr>
            <a:normAutofit/>
          </a:bodyPr>
          <a:lstStyle>
            <a:lvl1pPr marL="0" indent="0">
              <a:buNone/>
              <a:defRPr sz="1600">
                <a:solidFill>
                  <a:srgbClr val="070707"/>
                </a:solidFill>
              </a:defRPr>
            </a:lvl1pPr>
            <a:lvl2pPr marL="609515" indent="0">
              <a:buNone/>
              <a:defRPr sz="1600"/>
            </a:lvl2pPr>
            <a:lvl3pPr marL="1219031" indent="0">
              <a:buNone/>
              <a:defRPr sz="1333"/>
            </a:lvl3pPr>
            <a:lvl4pPr marL="1828546" indent="0">
              <a:buNone/>
              <a:defRPr sz="1200"/>
            </a:lvl4pPr>
            <a:lvl5pPr marL="2438062" indent="0">
              <a:buNone/>
              <a:defRPr sz="1200"/>
            </a:lvl5pPr>
            <a:lvl6pPr marL="3047577" indent="0">
              <a:buNone/>
              <a:defRPr sz="1200"/>
            </a:lvl6pPr>
            <a:lvl7pPr marL="3657093" indent="0">
              <a:buNone/>
              <a:defRPr sz="1200"/>
            </a:lvl7pPr>
            <a:lvl8pPr marL="4266608" indent="0">
              <a:buNone/>
              <a:defRPr sz="1200"/>
            </a:lvl8pPr>
            <a:lvl9pPr marL="4876123" indent="0">
              <a:buNone/>
              <a:defRPr sz="1200"/>
            </a:lvl9pPr>
          </a:lstStyle>
          <a:p>
            <a:pPr lvl="0"/>
            <a:r>
              <a:rPr lang="en-US"/>
              <a:t>Click to edit Master text styles</a:t>
            </a:r>
          </a:p>
        </p:txBody>
      </p:sp>
      <p:cxnSp>
        <p:nvCxnSpPr>
          <p:cNvPr id="30" name="Straight Connector 29"/>
          <p:cNvCxnSpPr/>
          <p:nvPr userDrawn="1"/>
        </p:nvCxnSpPr>
        <p:spPr>
          <a:xfrm>
            <a:off x="3435927" y="4082153"/>
            <a:ext cx="2483556" cy="0"/>
          </a:xfrm>
          <a:prstGeom prst="line">
            <a:avLst/>
          </a:prstGeom>
          <a:ln w="635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31" name="Chart Placeholder 4"/>
          <p:cNvSpPr>
            <a:spLocks noGrp="1"/>
          </p:cNvSpPr>
          <p:nvPr>
            <p:ph type="chart" sz="quarter" idx="28"/>
          </p:nvPr>
        </p:nvSpPr>
        <p:spPr>
          <a:xfrm>
            <a:off x="3446190" y="1464673"/>
            <a:ext cx="2473293" cy="1909681"/>
          </a:xfrm>
        </p:spPr>
        <p:txBody>
          <a:bodyPr/>
          <a:lstStyle/>
          <a:p>
            <a:r>
              <a:rPr lang="en-US"/>
              <a:t>Click icon to add chart</a:t>
            </a:r>
          </a:p>
        </p:txBody>
      </p:sp>
      <p:sp>
        <p:nvSpPr>
          <p:cNvPr id="32" name="Text Placeholder 13"/>
          <p:cNvSpPr>
            <a:spLocks noGrp="1"/>
          </p:cNvSpPr>
          <p:nvPr>
            <p:ph type="body" sz="quarter" idx="29"/>
          </p:nvPr>
        </p:nvSpPr>
        <p:spPr>
          <a:xfrm>
            <a:off x="6286439" y="4162523"/>
            <a:ext cx="2473740" cy="1270512"/>
          </a:xfrm>
        </p:spPr>
        <p:txBody>
          <a:bodyPr/>
          <a:lstStyle>
            <a:lvl1pPr marL="0" indent="0">
              <a:buNone/>
              <a:defRPr/>
            </a:lvl1pPr>
            <a:lvl5pPr marL="2438062" indent="0">
              <a:buNone/>
              <a:defRPr/>
            </a:lvl5pPr>
          </a:lstStyle>
          <a:p>
            <a:pPr lvl="0"/>
            <a:r>
              <a:rPr lang="en-US"/>
              <a:t>Click to edit Master text styles</a:t>
            </a:r>
          </a:p>
        </p:txBody>
      </p:sp>
      <p:sp>
        <p:nvSpPr>
          <p:cNvPr id="33" name="Text Placeholder 3"/>
          <p:cNvSpPr>
            <a:spLocks noGrp="1"/>
          </p:cNvSpPr>
          <p:nvPr>
            <p:ph type="body" sz="half" idx="30"/>
          </p:nvPr>
        </p:nvSpPr>
        <p:spPr>
          <a:xfrm>
            <a:off x="6290993" y="3442473"/>
            <a:ext cx="2469184" cy="637631"/>
          </a:xfrm>
        </p:spPr>
        <p:txBody>
          <a:bodyPr>
            <a:normAutofit/>
          </a:bodyPr>
          <a:lstStyle>
            <a:lvl1pPr marL="0" indent="0">
              <a:buNone/>
              <a:defRPr sz="1600">
                <a:solidFill>
                  <a:srgbClr val="070707"/>
                </a:solidFill>
              </a:defRPr>
            </a:lvl1pPr>
            <a:lvl2pPr marL="609515" indent="0">
              <a:buNone/>
              <a:defRPr sz="1600"/>
            </a:lvl2pPr>
            <a:lvl3pPr marL="1219031" indent="0">
              <a:buNone/>
              <a:defRPr sz="1333"/>
            </a:lvl3pPr>
            <a:lvl4pPr marL="1828546" indent="0">
              <a:buNone/>
              <a:defRPr sz="1200"/>
            </a:lvl4pPr>
            <a:lvl5pPr marL="2438062" indent="0">
              <a:buNone/>
              <a:defRPr sz="1200"/>
            </a:lvl5pPr>
            <a:lvl6pPr marL="3047577" indent="0">
              <a:buNone/>
              <a:defRPr sz="1200"/>
            </a:lvl6pPr>
            <a:lvl7pPr marL="3657093" indent="0">
              <a:buNone/>
              <a:defRPr sz="1200"/>
            </a:lvl7pPr>
            <a:lvl8pPr marL="4266608" indent="0">
              <a:buNone/>
              <a:defRPr sz="1200"/>
            </a:lvl8pPr>
            <a:lvl9pPr marL="4876123" indent="0">
              <a:buNone/>
              <a:defRPr sz="1200"/>
            </a:lvl9pPr>
          </a:lstStyle>
          <a:p>
            <a:pPr lvl="0"/>
            <a:r>
              <a:rPr lang="en-US"/>
              <a:t>Click to edit Master text styles</a:t>
            </a:r>
          </a:p>
        </p:txBody>
      </p:sp>
      <p:cxnSp>
        <p:nvCxnSpPr>
          <p:cNvPr id="34" name="Straight Connector 33"/>
          <p:cNvCxnSpPr/>
          <p:nvPr userDrawn="1"/>
        </p:nvCxnSpPr>
        <p:spPr>
          <a:xfrm>
            <a:off x="6276623" y="4080101"/>
            <a:ext cx="2483556" cy="0"/>
          </a:xfrm>
          <a:prstGeom prst="line">
            <a:avLst/>
          </a:prstGeom>
          <a:ln w="635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35" name="Chart Placeholder 4"/>
          <p:cNvSpPr>
            <a:spLocks noGrp="1"/>
          </p:cNvSpPr>
          <p:nvPr>
            <p:ph type="chart" sz="quarter" idx="31"/>
          </p:nvPr>
        </p:nvSpPr>
        <p:spPr>
          <a:xfrm>
            <a:off x="6286884" y="1462621"/>
            <a:ext cx="2473293" cy="1909681"/>
          </a:xfrm>
        </p:spPr>
        <p:txBody>
          <a:bodyPr/>
          <a:lstStyle/>
          <a:p>
            <a:r>
              <a:rPr lang="en-US"/>
              <a:t>Click icon to add chart</a:t>
            </a:r>
          </a:p>
        </p:txBody>
      </p:sp>
      <p:sp>
        <p:nvSpPr>
          <p:cNvPr id="36" name="Text Placeholder 13"/>
          <p:cNvSpPr>
            <a:spLocks noGrp="1"/>
          </p:cNvSpPr>
          <p:nvPr>
            <p:ph type="body" sz="quarter" idx="32"/>
          </p:nvPr>
        </p:nvSpPr>
        <p:spPr>
          <a:xfrm>
            <a:off x="9147658" y="4170733"/>
            <a:ext cx="2473740" cy="1270512"/>
          </a:xfrm>
        </p:spPr>
        <p:txBody>
          <a:bodyPr/>
          <a:lstStyle>
            <a:lvl1pPr marL="0" indent="0">
              <a:buNone/>
              <a:defRPr/>
            </a:lvl1pPr>
            <a:lvl5pPr marL="2438062" indent="0">
              <a:buNone/>
              <a:defRPr/>
            </a:lvl5pPr>
          </a:lstStyle>
          <a:p>
            <a:pPr lvl="0"/>
            <a:r>
              <a:rPr lang="en-US"/>
              <a:t>Click to edit Master text styles</a:t>
            </a:r>
          </a:p>
        </p:txBody>
      </p:sp>
      <p:sp>
        <p:nvSpPr>
          <p:cNvPr id="37" name="Text Placeholder 3"/>
          <p:cNvSpPr>
            <a:spLocks noGrp="1"/>
          </p:cNvSpPr>
          <p:nvPr>
            <p:ph type="body" sz="half" idx="33"/>
          </p:nvPr>
        </p:nvSpPr>
        <p:spPr>
          <a:xfrm>
            <a:off x="9152213" y="3450683"/>
            <a:ext cx="2469184" cy="637631"/>
          </a:xfrm>
        </p:spPr>
        <p:txBody>
          <a:bodyPr>
            <a:normAutofit/>
          </a:bodyPr>
          <a:lstStyle>
            <a:lvl1pPr marL="0" indent="0">
              <a:buNone/>
              <a:defRPr sz="1600">
                <a:solidFill>
                  <a:srgbClr val="070707"/>
                </a:solidFill>
              </a:defRPr>
            </a:lvl1pPr>
            <a:lvl2pPr marL="609515" indent="0">
              <a:buNone/>
              <a:defRPr sz="1600"/>
            </a:lvl2pPr>
            <a:lvl3pPr marL="1219031" indent="0">
              <a:buNone/>
              <a:defRPr sz="1333"/>
            </a:lvl3pPr>
            <a:lvl4pPr marL="1828546" indent="0">
              <a:buNone/>
              <a:defRPr sz="1200"/>
            </a:lvl4pPr>
            <a:lvl5pPr marL="2438062" indent="0">
              <a:buNone/>
              <a:defRPr sz="1200"/>
            </a:lvl5pPr>
            <a:lvl6pPr marL="3047577" indent="0">
              <a:buNone/>
              <a:defRPr sz="1200"/>
            </a:lvl6pPr>
            <a:lvl7pPr marL="3657093" indent="0">
              <a:buNone/>
              <a:defRPr sz="1200"/>
            </a:lvl7pPr>
            <a:lvl8pPr marL="4266608" indent="0">
              <a:buNone/>
              <a:defRPr sz="1200"/>
            </a:lvl8pPr>
            <a:lvl9pPr marL="4876123" indent="0">
              <a:buNone/>
              <a:defRPr sz="1200"/>
            </a:lvl9pPr>
          </a:lstStyle>
          <a:p>
            <a:pPr lvl="0"/>
            <a:r>
              <a:rPr lang="en-US"/>
              <a:t>Click to edit Master text styles</a:t>
            </a:r>
          </a:p>
        </p:txBody>
      </p:sp>
      <p:cxnSp>
        <p:nvCxnSpPr>
          <p:cNvPr id="38" name="Straight Connector 37"/>
          <p:cNvCxnSpPr/>
          <p:nvPr userDrawn="1"/>
        </p:nvCxnSpPr>
        <p:spPr>
          <a:xfrm>
            <a:off x="9137843" y="4088312"/>
            <a:ext cx="2483556" cy="0"/>
          </a:xfrm>
          <a:prstGeom prst="line">
            <a:avLst/>
          </a:prstGeom>
          <a:ln w="635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39" name="Chart Placeholder 4"/>
          <p:cNvSpPr>
            <a:spLocks noGrp="1"/>
          </p:cNvSpPr>
          <p:nvPr>
            <p:ph type="chart" sz="quarter" idx="34"/>
          </p:nvPr>
        </p:nvSpPr>
        <p:spPr>
          <a:xfrm>
            <a:off x="9148104" y="1470832"/>
            <a:ext cx="2473293" cy="1909681"/>
          </a:xfrm>
        </p:spPr>
        <p:txBody>
          <a:bodyPr/>
          <a:lstStyle/>
          <a:p>
            <a:r>
              <a:rPr lang="en-US"/>
              <a:t>Click icon to add chart</a:t>
            </a:r>
          </a:p>
        </p:txBody>
      </p:sp>
      <p:sp>
        <p:nvSpPr>
          <p:cNvPr id="21" name="Text Placeholder 13">
            <a:extLst>
              <a:ext uri="{FF2B5EF4-FFF2-40B4-BE49-F238E27FC236}">
                <a16:creationId xmlns:a16="http://schemas.microsoft.com/office/drawing/2014/main" id="{387D6CD3-3961-408E-9F37-94077AD6D618}"/>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3649235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full photo">
    <p:spTree>
      <p:nvGrpSpPr>
        <p:cNvPr id="1" name=""/>
        <p:cNvGrpSpPr/>
        <p:nvPr/>
      </p:nvGrpSpPr>
      <p:grpSpPr>
        <a:xfrm>
          <a:off x="0" y="0"/>
          <a:ext cx="0" cy="0"/>
          <a:chOff x="0" y="0"/>
          <a:chExt cx="0" cy="0"/>
        </a:xfrm>
      </p:grpSpPr>
      <p:sp>
        <p:nvSpPr>
          <p:cNvPr id="2" name="Title 1"/>
          <p:cNvSpPr>
            <a:spLocks noGrp="1"/>
          </p:cNvSpPr>
          <p:nvPr>
            <p:ph type="title"/>
          </p:nvPr>
        </p:nvSpPr>
        <p:spPr>
          <a:xfrm>
            <a:off x="609601" y="3684284"/>
            <a:ext cx="11079531" cy="563389"/>
          </a:xfrm>
        </p:spPr>
        <p:txBody>
          <a:bodyPr/>
          <a:lstStyle/>
          <a:p>
            <a:r>
              <a:rPr lang="en-US"/>
              <a:t>Click to edit Master title style</a:t>
            </a:r>
          </a:p>
        </p:txBody>
      </p:sp>
      <p:sp>
        <p:nvSpPr>
          <p:cNvPr id="14" name="Text Placeholder 13"/>
          <p:cNvSpPr>
            <a:spLocks noGrp="1"/>
          </p:cNvSpPr>
          <p:nvPr>
            <p:ph type="body" sz="quarter" idx="11"/>
          </p:nvPr>
        </p:nvSpPr>
        <p:spPr>
          <a:xfrm>
            <a:off x="594786" y="4310303"/>
            <a:ext cx="11094345" cy="1126836"/>
          </a:xfrm>
        </p:spPr>
        <p:txBody>
          <a:bodyPr/>
          <a:lstStyle>
            <a:lvl1pPr marL="0" indent="0">
              <a:buNone/>
              <a:defRPr/>
            </a:lvl1pPr>
            <a:lvl5pPr marL="2438062" indent="0">
              <a:buNone/>
              <a:defRPr/>
            </a:lvl5pPr>
          </a:lstStyle>
          <a:p>
            <a:pPr lvl="0"/>
            <a:r>
              <a:rPr lang="en-US"/>
              <a:t>Click to edit Master text styles</a:t>
            </a:r>
          </a:p>
        </p:txBody>
      </p:sp>
      <p:sp>
        <p:nvSpPr>
          <p:cNvPr id="6" name="Picture Placeholder 5"/>
          <p:cNvSpPr>
            <a:spLocks noGrp="1"/>
          </p:cNvSpPr>
          <p:nvPr>
            <p:ph type="pic" sz="quarter" idx="12"/>
          </p:nvPr>
        </p:nvSpPr>
        <p:spPr>
          <a:xfrm>
            <a:off x="0" y="2"/>
            <a:ext cx="12192000" cy="3232727"/>
          </a:xfrm>
        </p:spPr>
        <p:txBody>
          <a:bodyPr/>
          <a:lstStyle/>
          <a:p>
            <a:r>
              <a:rPr lang="en-US"/>
              <a:t>Click icon to add picture</a:t>
            </a:r>
          </a:p>
        </p:txBody>
      </p:sp>
      <p:sp>
        <p:nvSpPr>
          <p:cNvPr id="8" name="Text Placeholder 13">
            <a:extLst>
              <a:ext uri="{FF2B5EF4-FFF2-40B4-BE49-F238E27FC236}">
                <a16:creationId xmlns:a16="http://schemas.microsoft.com/office/drawing/2014/main" id="{3D768574-F618-4534-B4A0-13C9863253C0}"/>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38784856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allery (4 photo) &amp; text">
    <p:spTree>
      <p:nvGrpSpPr>
        <p:cNvPr id="1" name=""/>
        <p:cNvGrpSpPr/>
        <p:nvPr/>
      </p:nvGrpSpPr>
      <p:grpSpPr>
        <a:xfrm>
          <a:off x="0" y="0"/>
          <a:ext cx="0" cy="0"/>
          <a:chOff x="0" y="0"/>
          <a:chExt cx="0" cy="0"/>
        </a:xfrm>
      </p:grpSpPr>
      <p:sp>
        <p:nvSpPr>
          <p:cNvPr id="2" name="Title 1"/>
          <p:cNvSpPr>
            <a:spLocks noGrp="1"/>
          </p:cNvSpPr>
          <p:nvPr>
            <p:ph type="title"/>
          </p:nvPr>
        </p:nvSpPr>
        <p:spPr>
          <a:xfrm>
            <a:off x="609601" y="3684284"/>
            <a:ext cx="11079531" cy="563389"/>
          </a:xfrm>
        </p:spPr>
        <p:txBody>
          <a:bodyPr/>
          <a:lstStyle/>
          <a:p>
            <a:r>
              <a:rPr lang="en-US"/>
              <a:t>Click to edit Master title style</a:t>
            </a:r>
          </a:p>
        </p:txBody>
      </p:sp>
      <p:sp>
        <p:nvSpPr>
          <p:cNvPr id="14" name="Text Placeholder 13"/>
          <p:cNvSpPr>
            <a:spLocks noGrp="1"/>
          </p:cNvSpPr>
          <p:nvPr>
            <p:ph type="body" sz="quarter" idx="11"/>
          </p:nvPr>
        </p:nvSpPr>
        <p:spPr>
          <a:xfrm>
            <a:off x="594786" y="4310303"/>
            <a:ext cx="11094345" cy="1126836"/>
          </a:xfrm>
        </p:spPr>
        <p:txBody>
          <a:bodyPr/>
          <a:lstStyle>
            <a:lvl1pPr marL="0" indent="0">
              <a:buNone/>
              <a:defRPr/>
            </a:lvl1pPr>
            <a:lvl5pPr marL="2438062" indent="0">
              <a:buNone/>
              <a:defRPr/>
            </a:lvl5pPr>
          </a:lstStyle>
          <a:p>
            <a:pPr lvl="0"/>
            <a:r>
              <a:rPr lang="en-US"/>
              <a:t>Click to edit Master text styles</a:t>
            </a:r>
          </a:p>
        </p:txBody>
      </p:sp>
      <p:sp>
        <p:nvSpPr>
          <p:cNvPr id="11" name="Picture Placeholder 10"/>
          <p:cNvSpPr>
            <a:spLocks noGrp="1"/>
          </p:cNvSpPr>
          <p:nvPr>
            <p:ph type="pic" sz="quarter" idx="12"/>
          </p:nvPr>
        </p:nvSpPr>
        <p:spPr>
          <a:xfrm>
            <a:off x="0" y="2"/>
            <a:ext cx="3048000" cy="3181351"/>
          </a:xfrm>
        </p:spPr>
        <p:txBody>
          <a:bodyPr/>
          <a:lstStyle/>
          <a:p>
            <a:r>
              <a:rPr lang="en-US"/>
              <a:t>Click icon to add picture</a:t>
            </a:r>
          </a:p>
        </p:txBody>
      </p:sp>
      <p:sp>
        <p:nvSpPr>
          <p:cNvPr id="13" name="Picture Placeholder 10"/>
          <p:cNvSpPr>
            <a:spLocks noGrp="1"/>
          </p:cNvSpPr>
          <p:nvPr>
            <p:ph type="pic" sz="quarter" idx="13"/>
          </p:nvPr>
        </p:nvSpPr>
        <p:spPr>
          <a:xfrm>
            <a:off x="3056211" y="2"/>
            <a:ext cx="3048000" cy="3181351"/>
          </a:xfrm>
        </p:spPr>
        <p:txBody>
          <a:bodyPr/>
          <a:lstStyle/>
          <a:p>
            <a:r>
              <a:rPr lang="en-US"/>
              <a:t>Click icon to add picture</a:t>
            </a:r>
          </a:p>
        </p:txBody>
      </p:sp>
      <p:sp>
        <p:nvSpPr>
          <p:cNvPr id="15" name="Picture Placeholder 10"/>
          <p:cNvSpPr>
            <a:spLocks noGrp="1"/>
          </p:cNvSpPr>
          <p:nvPr>
            <p:ph type="pic" sz="quarter" idx="14"/>
          </p:nvPr>
        </p:nvSpPr>
        <p:spPr>
          <a:xfrm>
            <a:off x="6118577" y="2"/>
            <a:ext cx="3048000" cy="3181351"/>
          </a:xfrm>
        </p:spPr>
        <p:txBody>
          <a:bodyPr/>
          <a:lstStyle/>
          <a:p>
            <a:r>
              <a:rPr lang="en-US"/>
              <a:t>Click icon to add picture</a:t>
            </a:r>
          </a:p>
        </p:txBody>
      </p:sp>
      <p:sp>
        <p:nvSpPr>
          <p:cNvPr id="16" name="Picture Placeholder 10"/>
          <p:cNvSpPr>
            <a:spLocks noGrp="1"/>
          </p:cNvSpPr>
          <p:nvPr>
            <p:ph type="pic" sz="quarter" idx="15"/>
          </p:nvPr>
        </p:nvSpPr>
        <p:spPr>
          <a:xfrm>
            <a:off x="9174788" y="2"/>
            <a:ext cx="3048000" cy="3181351"/>
          </a:xfrm>
        </p:spPr>
        <p:txBody>
          <a:bodyPr/>
          <a:lstStyle/>
          <a:p>
            <a:r>
              <a:rPr lang="en-US"/>
              <a:t>Click icon to add picture</a:t>
            </a:r>
          </a:p>
        </p:txBody>
      </p:sp>
      <p:sp>
        <p:nvSpPr>
          <p:cNvPr id="10" name="Text Placeholder 13">
            <a:extLst>
              <a:ext uri="{FF2B5EF4-FFF2-40B4-BE49-F238E27FC236}">
                <a16:creationId xmlns:a16="http://schemas.microsoft.com/office/drawing/2014/main" id="{48D5B220-2163-4FEF-B3E2-242C73EFD628}"/>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40554535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buNone/>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A1079E3A-6690-48C1-97C1-C918594A3075}"/>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bg1">
                    <a:lumMod val="25000"/>
                  </a:schemeClr>
                </a:solidFill>
              </a:defRPr>
            </a:lvl1pPr>
          </a:lstStyle>
          <a:p>
            <a:pPr lvl="0"/>
            <a:r>
              <a:rPr lang="en-US" dirty="0"/>
              <a:t>Click to add source</a:t>
            </a:r>
          </a:p>
        </p:txBody>
      </p:sp>
    </p:spTree>
    <p:extLst>
      <p:ext uri="{BB962C8B-B14F-4D97-AF65-F5344CB8AC3E}">
        <p14:creationId xmlns:p14="http://schemas.microsoft.com/office/powerpoint/2010/main" val="5367133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allery (4 photo) &amp; text 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1" y="3684284"/>
            <a:ext cx="11079531" cy="563389"/>
          </a:xfrm>
        </p:spPr>
        <p:txBody>
          <a:bodyPr/>
          <a:lstStyle/>
          <a:p>
            <a:r>
              <a:rPr lang="en-US"/>
              <a:t>Click to edit Master title style</a:t>
            </a:r>
          </a:p>
        </p:txBody>
      </p:sp>
      <p:sp>
        <p:nvSpPr>
          <p:cNvPr id="14" name="Text Placeholder 13"/>
          <p:cNvSpPr>
            <a:spLocks noGrp="1"/>
          </p:cNvSpPr>
          <p:nvPr>
            <p:ph type="body" sz="quarter" idx="11"/>
          </p:nvPr>
        </p:nvSpPr>
        <p:spPr>
          <a:xfrm>
            <a:off x="594787" y="4310303"/>
            <a:ext cx="5379752" cy="1126836"/>
          </a:xfrm>
        </p:spPr>
        <p:txBody>
          <a:bodyPr/>
          <a:lstStyle>
            <a:lvl1pPr marL="0" indent="0">
              <a:buNone/>
              <a:defRPr/>
            </a:lvl1pPr>
            <a:lvl5pPr marL="2438062" indent="0">
              <a:buNone/>
              <a:defRPr/>
            </a:lvl5pPr>
          </a:lstStyle>
          <a:p>
            <a:pPr lvl="0"/>
            <a:r>
              <a:rPr lang="en-US"/>
              <a:t>Click to edit Master text styles</a:t>
            </a:r>
          </a:p>
        </p:txBody>
      </p:sp>
      <p:sp>
        <p:nvSpPr>
          <p:cNvPr id="11" name="Picture Placeholder 10"/>
          <p:cNvSpPr>
            <a:spLocks noGrp="1"/>
          </p:cNvSpPr>
          <p:nvPr>
            <p:ph type="pic" sz="quarter" idx="12"/>
          </p:nvPr>
        </p:nvSpPr>
        <p:spPr>
          <a:xfrm>
            <a:off x="0" y="2"/>
            <a:ext cx="3048000" cy="3181351"/>
          </a:xfrm>
        </p:spPr>
        <p:txBody>
          <a:bodyPr/>
          <a:lstStyle/>
          <a:p>
            <a:r>
              <a:rPr lang="en-US"/>
              <a:t>Click icon to add picture</a:t>
            </a:r>
          </a:p>
        </p:txBody>
      </p:sp>
      <p:sp>
        <p:nvSpPr>
          <p:cNvPr id="13" name="Picture Placeholder 10"/>
          <p:cNvSpPr>
            <a:spLocks noGrp="1"/>
          </p:cNvSpPr>
          <p:nvPr>
            <p:ph type="pic" sz="quarter" idx="13"/>
          </p:nvPr>
        </p:nvSpPr>
        <p:spPr>
          <a:xfrm>
            <a:off x="3056211" y="2"/>
            <a:ext cx="3048000" cy="3181351"/>
          </a:xfrm>
        </p:spPr>
        <p:txBody>
          <a:bodyPr/>
          <a:lstStyle/>
          <a:p>
            <a:r>
              <a:rPr lang="en-US"/>
              <a:t>Click icon to add picture</a:t>
            </a:r>
          </a:p>
        </p:txBody>
      </p:sp>
      <p:sp>
        <p:nvSpPr>
          <p:cNvPr id="15" name="Picture Placeholder 10"/>
          <p:cNvSpPr>
            <a:spLocks noGrp="1"/>
          </p:cNvSpPr>
          <p:nvPr>
            <p:ph type="pic" sz="quarter" idx="14"/>
          </p:nvPr>
        </p:nvSpPr>
        <p:spPr>
          <a:xfrm>
            <a:off x="6118577" y="2"/>
            <a:ext cx="3048000" cy="3181351"/>
          </a:xfrm>
        </p:spPr>
        <p:txBody>
          <a:bodyPr/>
          <a:lstStyle/>
          <a:p>
            <a:r>
              <a:rPr lang="en-US"/>
              <a:t>Click icon to add picture</a:t>
            </a:r>
          </a:p>
        </p:txBody>
      </p:sp>
      <p:sp>
        <p:nvSpPr>
          <p:cNvPr id="16" name="Picture Placeholder 10"/>
          <p:cNvSpPr>
            <a:spLocks noGrp="1"/>
          </p:cNvSpPr>
          <p:nvPr>
            <p:ph type="pic" sz="quarter" idx="15"/>
          </p:nvPr>
        </p:nvSpPr>
        <p:spPr>
          <a:xfrm>
            <a:off x="9174788" y="2"/>
            <a:ext cx="3048000" cy="3181351"/>
          </a:xfrm>
        </p:spPr>
        <p:txBody>
          <a:bodyPr/>
          <a:lstStyle/>
          <a:p>
            <a:r>
              <a:rPr lang="en-US"/>
              <a:t>Click icon to add picture</a:t>
            </a:r>
          </a:p>
        </p:txBody>
      </p:sp>
      <p:sp>
        <p:nvSpPr>
          <p:cNvPr id="17" name="Text Placeholder 13"/>
          <p:cNvSpPr>
            <a:spLocks noGrp="1"/>
          </p:cNvSpPr>
          <p:nvPr>
            <p:ph type="body" sz="quarter" idx="16"/>
          </p:nvPr>
        </p:nvSpPr>
        <p:spPr>
          <a:xfrm>
            <a:off x="6301319" y="4306539"/>
            <a:ext cx="5379752" cy="1126836"/>
          </a:xfrm>
        </p:spPr>
        <p:txBody>
          <a:bodyPr/>
          <a:lstStyle>
            <a:lvl1pPr marL="0" indent="0">
              <a:buNone/>
              <a:defRPr/>
            </a:lvl1pPr>
            <a:lvl5pPr marL="2438062" indent="0">
              <a:buNone/>
              <a:defRPr/>
            </a:lvl5pPr>
          </a:lstStyle>
          <a:p>
            <a:pPr lvl="0"/>
            <a:r>
              <a:rPr lang="en-US"/>
              <a:t>Click to edit Master text styles</a:t>
            </a:r>
          </a:p>
        </p:txBody>
      </p:sp>
      <p:sp>
        <p:nvSpPr>
          <p:cNvPr id="12" name="Text Placeholder 13">
            <a:extLst>
              <a:ext uri="{FF2B5EF4-FFF2-40B4-BE49-F238E27FC236}">
                <a16:creationId xmlns:a16="http://schemas.microsoft.com/office/drawing/2014/main" id="{269253EA-31A5-4C11-ADB8-426DBA5A981A}"/>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17035824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allery footer (4 photo) &amp; text">
    <p:spTree>
      <p:nvGrpSpPr>
        <p:cNvPr id="1" name=""/>
        <p:cNvGrpSpPr/>
        <p:nvPr/>
      </p:nvGrpSpPr>
      <p:grpSpPr>
        <a:xfrm>
          <a:off x="0" y="0"/>
          <a:ext cx="0" cy="0"/>
          <a:chOff x="0" y="0"/>
          <a:chExt cx="0" cy="0"/>
        </a:xfrm>
      </p:grpSpPr>
      <p:sp>
        <p:nvSpPr>
          <p:cNvPr id="16" name="Picture Placeholder 10"/>
          <p:cNvSpPr>
            <a:spLocks noGrp="1"/>
          </p:cNvSpPr>
          <p:nvPr>
            <p:ph type="pic" sz="quarter" idx="15"/>
          </p:nvPr>
        </p:nvSpPr>
        <p:spPr>
          <a:xfrm>
            <a:off x="9174788" y="3676651"/>
            <a:ext cx="3048000" cy="3181351"/>
          </a:xfrm>
        </p:spPr>
        <p:txBody>
          <a:bodyPr/>
          <a:lstStyle/>
          <a:p>
            <a:r>
              <a:rPr lang="en-US"/>
              <a:t>Click icon to add picture</a:t>
            </a:r>
          </a:p>
        </p:txBody>
      </p:sp>
      <p:sp>
        <p:nvSpPr>
          <p:cNvPr id="14" name="Text Placeholder 13"/>
          <p:cNvSpPr>
            <a:spLocks noGrp="1"/>
          </p:cNvSpPr>
          <p:nvPr>
            <p:ph type="body" sz="quarter" idx="11"/>
          </p:nvPr>
        </p:nvSpPr>
        <p:spPr>
          <a:xfrm>
            <a:off x="594786" y="1318749"/>
            <a:ext cx="11094345" cy="2049105"/>
          </a:xfrm>
        </p:spPr>
        <p:txBody>
          <a:bodyPr/>
          <a:lstStyle>
            <a:lvl1pPr marL="0" indent="0">
              <a:buNone/>
              <a:defRPr/>
            </a:lvl1pPr>
            <a:lvl5pPr marL="2438062" indent="0">
              <a:buNone/>
              <a:defRPr/>
            </a:lvl5pPr>
          </a:lstStyle>
          <a:p>
            <a:pPr lvl="0"/>
            <a:r>
              <a:rPr lang="en-US"/>
              <a:t>Click to edit Master text styles</a:t>
            </a:r>
          </a:p>
        </p:txBody>
      </p:sp>
      <p:sp>
        <p:nvSpPr>
          <p:cNvPr id="11" name="Picture Placeholder 10"/>
          <p:cNvSpPr>
            <a:spLocks noGrp="1"/>
          </p:cNvSpPr>
          <p:nvPr>
            <p:ph type="pic" sz="quarter" idx="12"/>
          </p:nvPr>
        </p:nvSpPr>
        <p:spPr>
          <a:xfrm>
            <a:off x="0" y="3676651"/>
            <a:ext cx="3048000" cy="3181351"/>
          </a:xfrm>
        </p:spPr>
        <p:txBody>
          <a:bodyPr/>
          <a:lstStyle/>
          <a:p>
            <a:r>
              <a:rPr lang="en-US"/>
              <a:t>Click icon to add picture</a:t>
            </a:r>
          </a:p>
        </p:txBody>
      </p:sp>
      <p:sp>
        <p:nvSpPr>
          <p:cNvPr id="13" name="Picture Placeholder 10"/>
          <p:cNvSpPr>
            <a:spLocks noGrp="1"/>
          </p:cNvSpPr>
          <p:nvPr>
            <p:ph type="pic" sz="quarter" idx="13"/>
          </p:nvPr>
        </p:nvSpPr>
        <p:spPr>
          <a:xfrm>
            <a:off x="3056211" y="3676651"/>
            <a:ext cx="3048000" cy="3181351"/>
          </a:xfrm>
        </p:spPr>
        <p:txBody>
          <a:bodyPr/>
          <a:lstStyle/>
          <a:p>
            <a:r>
              <a:rPr lang="en-US"/>
              <a:t>Click icon to add picture</a:t>
            </a:r>
          </a:p>
        </p:txBody>
      </p:sp>
      <p:sp>
        <p:nvSpPr>
          <p:cNvPr id="15" name="Picture Placeholder 10"/>
          <p:cNvSpPr>
            <a:spLocks noGrp="1"/>
          </p:cNvSpPr>
          <p:nvPr>
            <p:ph type="pic" sz="quarter" idx="14"/>
          </p:nvPr>
        </p:nvSpPr>
        <p:spPr>
          <a:xfrm>
            <a:off x="6118577" y="3676651"/>
            <a:ext cx="3048000" cy="3181351"/>
          </a:xfrm>
        </p:spPr>
        <p:txBody>
          <a:bodyPr/>
          <a:lstStyle/>
          <a:p>
            <a:r>
              <a:rPr lang="en-US"/>
              <a:t>Click icon to add picture</a:t>
            </a:r>
          </a:p>
        </p:txBody>
      </p:sp>
      <p:sp>
        <p:nvSpPr>
          <p:cNvPr id="9" name="Title 1"/>
          <p:cNvSpPr>
            <a:spLocks noGrp="1"/>
          </p:cNvSpPr>
          <p:nvPr>
            <p:ph type="title"/>
          </p:nvPr>
        </p:nvSpPr>
        <p:spPr>
          <a:xfrm>
            <a:off x="609600" y="564444"/>
            <a:ext cx="11083808" cy="563389"/>
          </a:xfrm>
        </p:spPr>
        <p:txBody>
          <a:bodyPr/>
          <a:lstStyle/>
          <a:p>
            <a:r>
              <a:rPr lang="en-US"/>
              <a:t>Click to edit Master title style</a:t>
            </a:r>
          </a:p>
        </p:txBody>
      </p:sp>
      <p:sp>
        <p:nvSpPr>
          <p:cNvPr id="10" name="Text Placeholder 13">
            <a:extLst>
              <a:ext uri="{FF2B5EF4-FFF2-40B4-BE49-F238E27FC236}">
                <a16:creationId xmlns:a16="http://schemas.microsoft.com/office/drawing/2014/main" id="{9B7720E3-43AC-4610-AD69-34DE46E9DB32}"/>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30609724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allery full slide (8 photo)">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0" y="2"/>
            <a:ext cx="3048000" cy="3431823"/>
          </a:xfrm>
        </p:spPr>
        <p:txBody>
          <a:bodyPr/>
          <a:lstStyle/>
          <a:p>
            <a:r>
              <a:rPr lang="en-US"/>
              <a:t>Click icon to add picture</a:t>
            </a:r>
          </a:p>
        </p:txBody>
      </p:sp>
      <p:sp>
        <p:nvSpPr>
          <p:cNvPr id="19" name="Picture Placeholder 10"/>
          <p:cNvSpPr>
            <a:spLocks noGrp="1"/>
          </p:cNvSpPr>
          <p:nvPr>
            <p:ph type="pic" sz="quarter" idx="13"/>
          </p:nvPr>
        </p:nvSpPr>
        <p:spPr>
          <a:xfrm>
            <a:off x="3044236" y="2"/>
            <a:ext cx="3048000" cy="3431823"/>
          </a:xfrm>
        </p:spPr>
        <p:txBody>
          <a:bodyPr/>
          <a:lstStyle/>
          <a:p>
            <a:r>
              <a:rPr lang="en-US"/>
              <a:t>Click icon to add picture</a:t>
            </a:r>
          </a:p>
        </p:txBody>
      </p:sp>
      <p:sp>
        <p:nvSpPr>
          <p:cNvPr id="20" name="Picture Placeholder 10"/>
          <p:cNvSpPr>
            <a:spLocks noGrp="1"/>
          </p:cNvSpPr>
          <p:nvPr>
            <p:ph type="pic" sz="quarter" idx="14"/>
          </p:nvPr>
        </p:nvSpPr>
        <p:spPr>
          <a:xfrm>
            <a:off x="6099764" y="2"/>
            <a:ext cx="3048000" cy="3431823"/>
          </a:xfrm>
        </p:spPr>
        <p:txBody>
          <a:bodyPr/>
          <a:lstStyle/>
          <a:p>
            <a:r>
              <a:rPr lang="en-US"/>
              <a:t>Click icon to add picture</a:t>
            </a:r>
          </a:p>
        </p:txBody>
      </p:sp>
      <p:sp>
        <p:nvSpPr>
          <p:cNvPr id="21" name="Picture Placeholder 10"/>
          <p:cNvSpPr>
            <a:spLocks noGrp="1"/>
          </p:cNvSpPr>
          <p:nvPr>
            <p:ph type="pic" sz="quarter" idx="15"/>
          </p:nvPr>
        </p:nvSpPr>
        <p:spPr>
          <a:xfrm>
            <a:off x="9144000" y="2"/>
            <a:ext cx="3048000" cy="3431823"/>
          </a:xfrm>
        </p:spPr>
        <p:txBody>
          <a:bodyPr/>
          <a:lstStyle/>
          <a:p>
            <a:r>
              <a:rPr lang="en-US"/>
              <a:t>Click icon to add picture</a:t>
            </a:r>
          </a:p>
        </p:txBody>
      </p:sp>
      <p:sp>
        <p:nvSpPr>
          <p:cNvPr id="22" name="Picture Placeholder 10"/>
          <p:cNvSpPr>
            <a:spLocks noGrp="1"/>
          </p:cNvSpPr>
          <p:nvPr>
            <p:ph type="pic" sz="quarter" idx="16"/>
          </p:nvPr>
        </p:nvSpPr>
        <p:spPr>
          <a:xfrm>
            <a:off x="0" y="3435587"/>
            <a:ext cx="3048000" cy="3431823"/>
          </a:xfrm>
        </p:spPr>
        <p:txBody>
          <a:bodyPr/>
          <a:lstStyle/>
          <a:p>
            <a:r>
              <a:rPr lang="en-US"/>
              <a:t>Click icon to add picture</a:t>
            </a:r>
          </a:p>
        </p:txBody>
      </p:sp>
      <p:sp>
        <p:nvSpPr>
          <p:cNvPr id="23" name="Picture Placeholder 10"/>
          <p:cNvSpPr>
            <a:spLocks noGrp="1"/>
          </p:cNvSpPr>
          <p:nvPr>
            <p:ph type="pic" sz="quarter" idx="17"/>
          </p:nvPr>
        </p:nvSpPr>
        <p:spPr>
          <a:xfrm>
            <a:off x="3044236" y="3435587"/>
            <a:ext cx="3048000" cy="3431823"/>
          </a:xfrm>
        </p:spPr>
        <p:txBody>
          <a:bodyPr/>
          <a:lstStyle/>
          <a:p>
            <a:r>
              <a:rPr lang="en-US"/>
              <a:t>Click icon to add picture</a:t>
            </a:r>
          </a:p>
        </p:txBody>
      </p:sp>
      <p:sp>
        <p:nvSpPr>
          <p:cNvPr id="24" name="Picture Placeholder 10"/>
          <p:cNvSpPr>
            <a:spLocks noGrp="1"/>
          </p:cNvSpPr>
          <p:nvPr>
            <p:ph type="pic" sz="quarter" idx="18"/>
          </p:nvPr>
        </p:nvSpPr>
        <p:spPr>
          <a:xfrm>
            <a:off x="6099764" y="3435587"/>
            <a:ext cx="3048000" cy="3431823"/>
          </a:xfrm>
        </p:spPr>
        <p:txBody>
          <a:bodyPr/>
          <a:lstStyle/>
          <a:p>
            <a:r>
              <a:rPr lang="en-US"/>
              <a:t>Click icon to add picture</a:t>
            </a:r>
          </a:p>
        </p:txBody>
      </p:sp>
      <p:sp>
        <p:nvSpPr>
          <p:cNvPr id="25" name="Picture Placeholder 10"/>
          <p:cNvSpPr>
            <a:spLocks noGrp="1"/>
          </p:cNvSpPr>
          <p:nvPr>
            <p:ph type="pic" sz="quarter" idx="19"/>
          </p:nvPr>
        </p:nvSpPr>
        <p:spPr>
          <a:xfrm>
            <a:off x="9144000" y="3435587"/>
            <a:ext cx="3048000" cy="3431823"/>
          </a:xfrm>
        </p:spPr>
        <p:txBody>
          <a:bodyPr/>
          <a:lstStyle/>
          <a:p>
            <a:r>
              <a:rPr lang="en-US"/>
              <a:t>Click icon to add picture</a:t>
            </a:r>
          </a:p>
        </p:txBody>
      </p:sp>
      <p:sp>
        <p:nvSpPr>
          <p:cNvPr id="12" name="Text Placeholder 13">
            <a:extLst>
              <a:ext uri="{FF2B5EF4-FFF2-40B4-BE49-F238E27FC236}">
                <a16:creationId xmlns:a16="http://schemas.microsoft.com/office/drawing/2014/main" id="{DFA70C68-1D25-45CC-80C3-883B017EAA78}"/>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3995268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Пользовательский макет">
    <p:spTree>
      <p:nvGrpSpPr>
        <p:cNvPr id="1" name=""/>
        <p:cNvGrpSpPr/>
        <p:nvPr/>
      </p:nvGrpSpPr>
      <p:grpSpPr>
        <a:xfrm>
          <a:off x="0" y="0"/>
          <a:ext cx="0" cy="0"/>
          <a:chOff x="0" y="0"/>
          <a:chExt cx="0" cy="0"/>
        </a:xfrm>
      </p:grpSpPr>
      <p:sp>
        <p:nvSpPr>
          <p:cNvPr id="3" name="Рисунок 2"/>
          <p:cNvSpPr>
            <a:spLocks noGrp="1"/>
          </p:cNvSpPr>
          <p:nvPr>
            <p:ph type="pic" sz="quarter" idx="10"/>
          </p:nvPr>
        </p:nvSpPr>
        <p:spPr bwMode="auto">
          <a:xfrm>
            <a:off x="1482015" y="1743751"/>
            <a:ext cx="3377116" cy="3361917"/>
          </a:xfrm>
          <a:custGeom>
            <a:avLst/>
            <a:gdLst>
              <a:gd name="connsiteX0" fmla="*/ 3728725 w 4439724"/>
              <a:gd name="connsiteY0" fmla="*/ 2998425 h 4420427"/>
              <a:gd name="connsiteX1" fmla="*/ 3762990 w 4439724"/>
              <a:gd name="connsiteY1" fmla="*/ 3000570 h 4420427"/>
              <a:gd name="connsiteX2" fmla="*/ 3797255 w 4439724"/>
              <a:gd name="connsiteY2" fmla="*/ 3002715 h 4420427"/>
              <a:gd name="connsiteX3" fmla="*/ 3833662 w 4439724"/>
              <a:gd name="connsiteY3" fmla="*/ 3004860 h 4420427"/>
              <a:gd name="connsiteX4" fmla="*/ 3867927 w 4439724"/>
              <a:gd name="connsiteY4" fmla="*/ 3013439 h 4420427"/>
              <a:gd name="connsiteX5" fmla="*/ 3902192 w 4439724"/>
              <a:gd name="connsiteY5" fmla="*/ 3019873 h 4420427"/>
              <a:gd name="connsiteX6" fmla="*/ 3936457 w 4439724"/>
              <a:gd name="connsiteY6" fmla="*/ 3028452 h 4420427"/>
              <a:gd name="connsiteX7" fmla="*/ 3968580 w 4439724"/>
              <a:gd name="connsiteY7" fmla="*/ 3041321 h 4420427"/>
              <a:gd name="connsiteX8" fmla="*/ 4000704 w 4439724"/>
              <a:gd name="connsiteY8" fmla="*/ 3052045 h 4420427"/>
              <a:gd name="connsiteX9" fmla="*/ 4019978 w 4439724"/>
              <a:gd name="connsiteY9" fmla="*/ 3062769 h 4420427"/>
              <a:gd name="connsiteX10" fmla="*/ 4041393 w 4439724"/>
              <a:gd name="connsiteY10" fmla="*/ 3071348 h 4420427"/>
              <a:gd name="connsiteX11" fmla="*/ 4067092 w 4439724"/>
              <a:gd name="connsiteY11" fmla="*/ 3084217 h 4420427"/>
              <a:gd name="connsiteX12" fmla="*/ 4092791 w 4439724"/>
              <a:gd name="connsiteY12" fmla="*/ 3099231 h 4420427"/>
              <a:gd name="connsiteX13" fmla="*/ 4118490 w 4439724"/>
              <a:gd name="connsiteY13" fmla="*/ 3116389 h 4420427"/>
              <a:gd name="connsiteX14" fmla="*/ 4139905 w 4439724"/>
              <a:gd name="connsiteY14" fmla="*/ 3131403 h 4420427"/>
              <a:gd name="connsiteX15" fmla="*/ 4163463 w 4439724"/>
              <a:gd name="connsiteY15" fmla="*/ 3148561 h 4420427"/>
              <a:gd name="connsiteX16" fmla="*/ 4187020 w 4439724"/>
              <a:gd name="connsiteY16" fmla="*/ 3165720 h 4420427"/>
              <a:gd name="connsiteX17" fmla="*/ 4208435 w 4439724"/>
              <a:gd name="connsiteY17" fmla="*/ 3185023 h 4420427"/>
              <a:gd name="connsiteX18" fmla="*/ 4229851 w 4439724"/>
              <a:gd name="connsiteY18" fmla="*/ 3206471 h 4420427"/>
              <a:gd name="connsiteX19" fmla="*/ 4231993 w 4439724"/>
              <a:gd name="connsiteY19" fmla="*/ 3206471 h 4420427"/>
              <a:gd name="connsiteX20" fmla="*/ 4259833 w 4439724"/>
              <a:gd name="connsiteY20" fmla="*/ 3236498 h 4420427"/>
              <a:gd name="connsiteX21" fmla="*/ 4285532 w 4439724"/>
              <a:gd name="connsiteY21" fmla="*/ 3266525 h 4420427"/>
              <a:gd name="connsiteX22" fmla="*/ 4309089 w 4439724"/>
              <a:gd name="connsiteY22" fmla="*/ 3298697 h 4420427"/>
              <a:gd name="connsiteX23" fmla="*/ 4332646 w 4439724"/>
              <a:gd name="connsiteY23" fmla="*/ 3333014 h 4420427"/>
              <a:gd name="connsiteX24" fmla="*/ 4356203 w 4439724"/>
              <a:gd name="connsiteY24" fmla="*/ 3375910 h 4420427"/>
              <a:gd name="connsiteX25" fmla="*/ 4377619 w 4439724"/>
              <a:gd name="connsiteY25" fmla="*/ 3420951 h 4420427"/>
              <a:gd name="connsiteX26" fmla="*/ 4396893 w 4439724"/>
              <a:gd name="connsiteY26" fmla="*/ 3468136 h 4420427"/>
              <a:gd name="connsiteX27" fmla="*/ 4411884 w 4439724"/>
              <a:gd name="connsiteY27" fmla="*/ 3515322 h 4420427"/>
              <a:gd name="connsiteX28" fmla="*/ 4422592 w 4439724"/>
              <a:gd name="connsiteY28" fmla="*/ 3562507 h 4420427"/>
              <a:gd name="connsiteX29" fmla="*/ 4433299 w 4439724"/>
              <a:gd name="connsiteY29" fmla="*/ 3611838 h 4420427"/>
              <a:gd name="connsiteX30" fmla="*/ 4437583 w 4439724"/>
              <a:gd name="connsiteY30" fmla="*/ 3661168 h 4420427"/>
              <a:gd name="connsiteX31" fmla="*/ 4439724 w 4439724"/>
              <a:gd name="connsiteY31" fmla="*/ 3710499 h 4420427"/>
              <a:gd name="connsiteX32" fmla="*/ 4437583 w 4439724"/>
              <a:gd name="connsiteY32" fmla="*/ 3710499 h 4420427"/>
              <a:gd name="connsiteX33" fmla="*/ 4437583 w 4439724"/>
              <a:gd name="connsiteY33" fmla="*/ 3742671 h 4420427"/>
              <a:gd name="connsiteX34" fmla="*/ 4435441 w 4439724"/>
              <a:gd name="connsiteY34" fmla="*/ 3776987 h 4420427"/>
              <a:gd name="connsiteX35" fmla="*/ 4429016 w 4439724"/>
              <a:gd name="connsiteY35" fmla="*/ 3813449 h 4420427"/>
              <a:gd name="connsiteX36" fmla="*/ 4424733 w 4439724"/>
              <a:gd name="connsiteY36" fmla="*/ 3845621 h 4420427"/>
              <a:gd name="connsiteX37" fmla="*/ 4418309 w 4439724"/>
              <a:gd name="connsiteY37" fmla="*/ 3877793 h 4420427"/>
              <a:gd name="connsiteX38" fmla="*/ 4409742 w 4439724"/>
              <a:gd name="connsiteY38" fmla="*/ 3914255 h 4420427"/>
              <a:gd name="connsiteX39" fmla="*/ 4399034 w 4439724"/>
              <a:gd name="connsiteY39" fmla="*/ 3946427 h 4420427"/>
              <a:gd name="connsiteX40" fmla="*/ 4386185 w 4439724"/>
              <a:gd name="connsiteY40" fmla="*/ 3976454 h 4420427"/>
              <a:gd name="connsiteX41" fmla="*/ 4375477 w 4439724"/>
              <a:gd name="connsiteY41" fmla="*/ 3997902 h 4420427"/>
              <a:gd name="connsiteX42" fmla="*/ 4366911 w 4439724"/>
              <a:gd name="connsiteY42" fmla="*/ 4019350 h 4420427"/>
              <a:gd name="connsiteX43" fmla="*/ 4356203 w 4439724"/>
              <a:gd name="connsiteY43" fmla="*/ 4042943 h 4420427"/>
              <a:gd name="connsiteX44" fmla="*/ 4341212 w 4439724"/>
              <a:gd name="connsiteY44" fmla="*/ 4068680 h 4420427"/>
              <a:gd name="connsiteX45" fmla="*/ 4324080 w 4439724"/>
              <a:gd name="connsiteY45" fmla="*/ 4094418 h 4420427"/>
              <a:gd name="connsiteX46" fmla="*/ 4309089 w 4439724"/>
              <a:gd name="connsiteY46" fmla="*/ 4120155 h 4420427"/>
              <a:gd name="connsiteX47" fmla="*/ 4289815 w 4439724"/>
              <a:gd name="connsiteY47" fmla="*/ 4143748 h 4420427"/>
              <a:gd name="connsiteX48" fmla="*/ 4270541 w 4439724"/>
              <a:gd name="connsiteY48" fmla="*/ 4167341 h 4420427"/>
              <a:gd name="connsiteX49" fmla="*/ 4253408 w 4439724"/>
              <a:gd name="connsiteY49" fmla="*/ 4190934 h 4420427"/>
              <a:gd name="connsiteX50" fmla="*/ 4231993 w 4439724"/>
              <a:gd name="connsiteY50" fmla="*/ 4212382 h 4420427"/>
              <a:gd name="connsiteX51" fmla="*/ 4229851 w 4439724"/>
              <a:gd name="connsiteY51" fmla="*/ 4212382 h 4420427"/>
              <a:gd name="connsiteX52" fmla="*/ 4202011 w 4439724"/>
              <a:gd name="connsiteY52" fmla="*/ 4240264 h 4420427"/>
              <a:gd name="connsiteX53" fmla="*/ 4172029 w 4439724"/>
              <a:gd name="connsiteY53" fmla="*/ 4266002 h 4420427"/>
              <a:gd name="connsiteX54" fmla="*/ 4139905 w 4439724"/>
              <a:gd name="connsiteY54" fmla="*/ 4289594 h 4420427"/>
              <a:gd name="connsiteX55" fmla="*/ 4107782 w 4439724"/>
              <a:gd name="connsiteY55" fmla="*/ 4308898 h 4420427"/>
              <a:gd name="connsiteX56" fmla="*/ 4067092 w 4439724"/>
              <a:gd name="connsiteY56" fmla="*/ 4334635 h 4420427"/>
              <a:gd name="connsiteX57" fmla="*/ 4019978 w 4439724"/>
              <a:gd name="connsiteY57" fmla="*/ 4358228 h 4420427"/>
              <a:gd name="connsiteX58" fmla="*/ 3975005 w 4439724"/>
              <a:gd name="connsiteY58" fmla="*/ 4377531 h 4420427"/>
              <a:gd name="connsiteX59" fmla="*/ 3925749 w 4439724"/>
              <a:gd name="connsiteY59" fmla="*/ 4392545 h 4420427"/>
              <a:gd name="connsiteX60" fmla="*/ 3880776 w 4439724"/>
              <a:gd name="connsiteY60" fmla="*/ 4405414 h 4420427"/>
              <a:gd name="connsiteX61" fmla="*/ 3831520 w 4439724"/>
              <a:gd name="connsiteY61" fmla="*/ 4411848 h 4420427"/>
              <a:gd name="connsiteX62" fmla="*/ 3780123 w 4439724"/>
              <a:gd name="connsiteY62" fmla="*/ 4420427 h 4420427"/>
              <a:gd name="connsiteX63" fmla="*/ 3728725 w 4439724"/>
              <a:gd name="connsiteY63" fmla="*/ 4420427 h 4420427"/>
              <a:gd name="connsiteX64" fmla="*/ 3692319 w 4439724"/>
              <a:gd name="connsiteY64" fmla="*/ 4420427 h 4420427"/>
              <a:gd name="connsiteX65" fmla="*/ 3658054 w 4439724"/>
              <a:gd name="connsiteY65" fmla="*/ 4418282 h 4420427"/>
              <a:gd name="connsiteX66" fmla="*/ 3623789 w 4439724"/>
              <a:gd name="connsiteY66" fmla="*/ 4411848 h 4420427"/>
              <a:gd name="connsiteX67" fmla="*/ 3587382 w 4439724"/>
              <a:gd name="connsiteY67" fmla="*/ 4405414 h 4420427"/>
              <a:gd name="connsiteX68" fmla="*/ 3555259 w 4439724"/>
              <a:gd name="connsiteY68" fmla="*/ 4398979 h 4420427"/>
              <a:gd name="connsiteX69" fmla="*/ 3520994 w 4439724"/>
              <a:gd name="connsiteY69" fmla="*/ 4388255 h 4420427"/>
              <a:gd name="connsiteX70" fmla="*/ 3488870 w 4439724"/>
              <a:gd name="connsiteY70" fmla="*/ 4377531 h 4420427"/>
              <a:gd name="connsiteX71" fmla="*/ 3454605 w 4439724"/>
              <a:gd name="connsiteY71" fmla="*/ 4366807 h 4420427"/>
              <a:gd name="connsiteX72" fmla="*/ 3439614 w 4439724"/>
              <a:gd name="connsiteY72" fmla="*/ 4358228 h 4420427"/>
              <a:gd name="connsiteX73" fmla="*/ 3416057 w 4439724"/>
              <a:gd name="connsiteY73" fmla="*/ 4347504 h 4420427"/>
              <a:gd name="connsiteX74" fmla="*/ 3390358 w 4439724"/>
              <a:gd name="connsiteY74" fmla="*/ 4332490 h 4420427"/>
              <a:gd name="connsiteX75" fmla="*/ 3364659 w 4439724"/>
              <a:gd name="connsiteY75" fmla="*/ 4319622 h 4420427"/>
              <a:gd name="connsiteX76" fmla="*/ 3338961 w 4439724"/>
              <a:gd name="connsiteY76" fmla="*/ 4302463 h 4420427"/>
              <a:gd name="connsiteX77" fmla="*/ 3315404 w 4439724"/>
              <a:gd name="connsiteY77" fmla="*/ 4287450 h 4420427"/>
              <a:gd name="connsiteX78" fmla="*/ 3291846 w 4439724"/>
              <a:gd name="connsiteY78" fmla="*/ 4270291 h 4420427"/>
              <a:gd name="connsiteX79" fmla="*/ 3268289 w 4439724"/>
              <a:gd name="connsiteY79" fmla="*/ 4250988 h 4420427"/>
              <a:gd name="connsiteX80" fmla="*/ 3249015 w 4439724"/>
              <a:gd name="connsiteY80" fmla="*/ 4233830 h 4420427"/>
              <a:gd name="connsiteX81" fmla="*/ 3227599 w 4439724"/>
              <a:gd name="connsiteY81" fmla="*/ 4212382 h 4420427"/>
              <a:gd name="connsiteX82" fmla="*/ 3199759 w 4439724"/>
              <a:gd name="connsiteY82" fmla="*/ 4184499 h 4420427"/>
              <a:gd name="connsiteX83" fmla="*/ 3174060 w 4439724"/>
              <a:gd name="connsiteY83" fmla="*/ 4154472 h 4420427"/>
              <a:gd name="connsiteX84" fmla="*/ 3150503 w 4439724"/>
              <a:gd name="connsiteY84" fmla="*/ 4120155 h 4420427"/>
              <a:gd name="connsiteX85" fmla="*/ 3129088 w 4439724"/>
              <a:gd name="connsiteY85" fmla="*/ 4090128 h 4420427"/>
              <a:gd name="connsiteX86" fmla="*/ 3103389 w 4439724"/>
              <a:gd name="connsiteY86" fmla="*/ 4047232 h 4420427"/>
              <a:gd name="connsiteX87" fmla="*/ 3079832 w 4439724"/>
              <a:gd name="connsiteY87" fmla="*/ 4002191 h 4420427"/>
              <a:gd name="connsiteX88" fmla="*/ 3062699 w 4439724"/>
              <a:gd name="connsiteY88" fmla="*/ 3955006 h 4420427"/>
              <a:gd name="connsiteX89" fmla="*/ 3045567 w 4439724"/>
              <a:gd name="connsiteY89" fmla="*/ 3907820 h 4420427"/>
              <a:gd name="connsiteX90" fmla="*/ 3032717 w 4439724"/>
              <a:gd name="connsiteY90" fmla="*/ 3860635 h 4420427"/>
              <a:gd name="connsiteX91" fmla="*/ 3024151 w 4439724"/>
              <a:gd name="connsiteY91" fmla="*/ 3811304 h 4420427"/>
              <a:gd name="connsiteX92" fmla="*/ 3019868 w 4439724"/>
              <a:gd name="connsiteY92" fmla="*/ 3759829 h 4420427"/>
              <a:gd name="connsiteX93" fmla="*/ 3017726 w 4439724"/>
              <a:gd name="connsiteY93" fmla="*/ 3710499 h 4420427"/>
              <a:gd name="connsiteX94" fmla="*/ 3019868 w 4439724"/>
              <a:gd name="connsiteY94" fmla="*/ 3710499 h 4420427"/>
              <a:gd name="connsiteX95" fmla="*/ 3022009 w 4439724"/>
              <a:gd name="connsiteY95" fmla="*/ 3652589 h 4420427"/>
              <a:gd name="connsiteX96" fmla="*/ 3026293 w 4439724"/>
              <a:gd name="connsiteY96" fmla="*/ 3596824 h 4420427"/>
              <a:gd name="connsiteX97" fmla="*/ 3039142 w 4439724"/>
              <a:gd name="connsiteY97" fmla="*/ 3543204 h 4420427"/>
              <a:gd name="connsiteX98" fmla="*/ 3051991 w 4439724"/>
              <a:gd name="connsiteY98" fmla="*/ 3489584 h 4420427"/>
              <a:gd name="connsiteX99" fmla="*/ 3062699 w 4439724"/>
              <a:gd name="connsiteY99" fmla="*/ 3465992 h 4420427"/>
              <a:gd name="connsiteX100" fmla="*/ 3071265 w 4439724"/>
              <a:gd name="connsiteY100" fmla="*/ 3440254 h 4420427"/>
              <a:gd name="connsiteX101" fmla="*/ 3084115 w 4439724"/>
              <a:gd name="connsiteY101" fmla="*/ 3408082 h 4420427"/>
              <a:gd name="connsiteX102" fmla="*/ 3101247 w 4439724"/>
              <a:gd name="connsiteY102" fmla="*/ 3375910 h 4420427"/>
              <a:gd name="connsiteX103" fmla="*/ 3118380 w 4439724"/>
              <a:gd name="connsiteY103" fmla="*/ 3345883 h 4420427"/>
              <a:gd name="connsiteX104" fmla="*/ 3135512 w 4439724"/>
              <a:gd name="connsiteY104" fmla="*/ 3315856 h 4420427"/>
              <a:gd name="connsiteX105" fmla="*/ 3156928 w 4439724"/>
              <a:gd name="connsiteY105" fmla="*/ 3287973 h 4420427"/>
              <a:gd name="connsiteX106" fmla="*/ 3178343 w 4439724"/>
              <a:gd name="connsiteY106" fmla="*/ 3260091 h 4420427"/>
              <a:gd name="connsiteX107" fmla="*/ 3201901 w 4439724"/>
              <a:gd name="connsiteY107" fmla="*/ 3232208 h 4420427"/>
              <a:gd name="connsiteX108" fmla="*/ 3227599 w 4439724"/>
              <a:gd name="connsiteY108" fmla="*/ 3206471 h 4420427"/>
              <a:gd name="connsiteX109" fmla="*/ 3255440 w 4439724"/>
              <a:gd name="connsiteY109" fmla="*/ 3180733 h 4420427"/>
              <a:gd name="connsiteX110" fmla="*/ 3285422 w 4439724"/>
              <a:gd name="connsiteY110" fmla="*/ 3154996 h 4420427"/>
              <a:gd name="connsiteX111" fmla="*/ 3317545 w 4439724"/>
              <a:gd name="connsiteY111" fmla="*/ 3129258 h 4420427"/>
              <a:gd name="connsiteX112" fmla="*/ 3347527 w 4439724"/>
              <a:gd name="connsiteY112" fmla="*/ 3107810 h 4420427"/>
              <a:gd name="connsiteX113" fmla="*/ 3392500 w 4439724"/>
              <a:gd name="connsiteY113" fmla="*/ 3082072 h 4420427"/>
              <a:gd name="connsiteX114" fmla="*/ 3437473 w 4439724"/>
              <a:gd name="connsiteY114" fmla="*/ 3062769 h 4420427"/>
              <a:gd name="connsiteX115" fmla="*/ 3484587 w 4439724"/>
              <a:gd name="connsiteY115" fmla="*/ 3043466 h 4420427"/>
              <a:gd name="connsiteX116" fmla="*/ 3529560 w 4439724"/>
              <a:gd name="connsiteY116" fmla="*/ 3026308 h 4420427"/>
              <a:gd name="connsiteX117" fmla="*/ 3578816 w 4439724"/>
              <a:gd name="connsiteY117" fmla="*/ 3015584 h 4420427"/>
              <a:gd name="connsiteX118" fmla="*/ 3628072 w 4439724"/>
              <a:gd name="connsiteY118" fmla="*/ 3004860 h 4420427"/>
              <a:gd name="connsiteX119" fmla="*/ 3677328 w 4439724"/>
              <a:gd name="connsiteY119" fmla="*/ 3000570 h 4420427"/>
              <a:gd name="connsiteX120" fmla="*/ 2211808 w 4439724"/>
              <a:gd name="connsiteY120" fmla="*/ 1512084 h 4420427"/>
              <a:gd name="connsiteX121" fmla="*/ 2248242 w 4439724"/>
              <a:gd name="connsiteY121" fmla="*/ 1514227 h 4420427"/>
              <a:gd name="connsiteX122" fmla="*/ 2282534 w 4439724"/>
              <a:gd name="connsiteY122" fmla="*/ 1516371 h 4420427"/>
              <a:gd name="connsiteX123" fmla="*/ 2316825 w 4439724"/>
              <a:gd name="connsiteY123" fmla="*/ 1518514 h 4420427"/>
              <a:gd name="connsiteX124" fmla="*/ 2351117 w 4439724"/>
              <a:gd name="connsiteY124" fmla="*/ 1527087 h 4420427"/>
              <a:gd name="connsiteX125" fmla="*/ 2385408 w 4439724"/>
              <a:gd name="connsiteY125" fmla="*/ 1533516 h 4420427"/>
              <a:gd name="connsiteX126" fmla="*/ 2417556 w 4439724"/>
              <a:gd name="connsiteY126" fmla="*/ 1542089 h 4420427"/>
              <a:gd name="connsiteX127" fmla="*/ 2449705 w 4439724"/>
              <a:gd name="connsiteY127" fmla="*/ 1554949 h 4420427"/>
              <a:gd name="connsiteX128" fmla="*/ 2483996 w 4439724"/>
              <a:gd name="connsiteY128" fmla="*/ 1565665 h 4420427"/>
              <a:gd name="connsiteX129" fmla="*/ 2503285 w 4439724"/>
              <a:gd name="connsiteY129" fmla="*/ 1576381 h 4420427"/>
              <a:gd name="connsiteX130" fmla="*/ 2524717 w 4439724"/>
              <a:gd name="connsiteY130" fmla="*/ 1584954 h 4420427"/>
              <a:gd name="connsiteX131" fmla="*/ 2550436 w 4439724"/>
              <a:gd name="connsiteY131" fmla="*/ 1597813 h 4420427"/>
              <a:gd name="connsiteX132" fmla="*/ 2576154 w 4439724"/>
              <a:gd name="connsiteY132" fmla="*/ 1612815 h 4420427"/>
              <a:gd name="connsiteX133" fmla="*/ 2599730 w 4439724"/>
              <a:gd name="connsiteY133" fmla="*/ 1629961 h 4420427"/>
              <a:gd name="connsiteX134" fmla="*/ 2625448 w 4439724"/>
              <a:gd name="connsiteY134" fmla="*/ 1644964 h 4420427"/>
              <a:gd name="connsiteX135" fmla="*/ 2649024 w 4439724"/>
              <a:gd name="connsiteY135" fmla="*/ 1662109 h 4420427"/>
              <a:gd name="connsiteX136" fmla="*/ 2670456 w 4439724"/>
              <a:gd name="connsiteY136" fmla="*/ 1681398 h 4420427"/>
              <a:gd name="connsiteX137" fmla="*/ 2694031 w 4439724"/>
              <a:gd name="connsiteY137" fmla="*/ 1698544 h 4420427"/>
              <a:gd name="connsiteX138" fmla="*/ 2713320 w 4439724"/>
              <a:gd name="connsiteY138" fmla="*/ 1719976 h 4420427"/>
              <a:gd name="connsiteX139" fmla="*/ 2741182 w 4439724"/>
              <a:gd name="connsiteY139" fmla="*/ 1747838 h 4420427"/>
              <a:gd name="connsiteX140" fmla="*/ 2764757 w 4439724"/>
              <a:gd name="connsiteY140" fmla="*/ 1777843 h 4420427"/>
              <a:gd name="connsiteX141" fmla="*/ 2788333 w 4439724"/>
              <a:gd name="connsiteY141" fmla="*/ 1807848 h 4420427"/>
              <a:gd name="connsiteX142" fmla="*/ 2809765 w 4439724"/>
              <a:gd name="connsiteY142" fmla="*/ 1842139 h 4420427"/>
              <a:gd name="connsiteX143" fmla="*/ 2831197 w 4439724"/>
              <a:gd name="connsiteY143" fmla="*/ 1872144 h 4420427"/>
              <a:gd name="connsiteX144" fmla="*/ 2846199 w 4439724"/>
              <a:gd name="connsiteY144" fmla="*/ 1906436 h 4420427"/>
              <a:gd name="connsiteX145" fmla="*/ 2863345 w 4439724"/>
              <a:gd name="connsiteY145" fmla="*/ 1938584 h 4420427"/>
              <a:gd name="connsiteX146" fmla="*/ 2878348 w 4439724"/>
              <a:gd name="connsiteY146" fmla="*/ 1975019 h 4420427"/>
              <a:gd name="connsiteX147" fmla="*/ 2889064 w 4439724"/>
              <a:gd name="connsiteY147" fmla="*/ 2009310 h 4420427"/>
              <a:gd name="connsiteX148" fmla="*/ 2899780 w 4439724"/>
              <a:gd name="connsiteY148" fmla="*/ 2045745 h 4420427"/>
              <a:gd name="connsiteX149" fmla="*/ 2908353 w 4439724"/>
              <a:gd name="connsiteY149" fmla="*/ 2082179 h 4420427"/>
              <a:gd name="connsiteX150" fmla="*/ 2914782 w 4439724"/>
              <a:gd name="connsiteY150" fmla="*/ 2116471 h 4420427"/>
              <a:gd name="connsiteX151" fmla="*/ 2919069 w 4439724"/>
              <a:gd name="connsiteY151" fmla="*/ 2155049 h 4420427"/>
              <a:gd name="connsiteX152" fmla="*/ 2921212 w 4439724"/>
              <a:gd name="connsiteY152" fmla="*/ 2197913 h 4420427"/>
              <a:gd name="connsiteX153" fmla="*/ 2921212 w 4439724"/>
              <a:gd name="connsiteY153" fmla="*/ 2236491 h 4420427"/>
              <a:gd name="connsiteX154" fmla="*/ 2919069 w 4439724"/>
              <a:gd name="connsiteY154" fmla="*/ 2279355 h 4420427"/>
              <a:gd name="connsiteX155" fmla="*/ 2914782 w 4439724"/>
              <a:gd name="connsiteY155" fmla="*/ 2320076 h 4420427"/>
              <a:gd name="connsiteX156" fmla="*/ 2908353 w 4439724"/>
              <a:gd name="connsiteY156" fmla="*/ 2358654 h 4420427"/>
              <a:gd name="connsiteX157" fmla="*/ 2899780 w 4439724"/>
              <a:gd name="connsiteY157" fmla="*/ 2401519 h 4420427"/>
              <a:gd name="connsiteX158" fmla="*/ 2889064 w 4439724"/>
              <a:gd name="connsiteY158" fmla="*/ 2440096 h 4420427"/>
              <a:gd name="connsiteX159" fmla="*/ 2876204 w 4439724"/>
              <a:gd name="connsiteY159" fmla="*/ 2478674 h 4420427"/>
              <a:gd name="connsiteX160" fmla="*/ 2859059 w 4439724"/>
              <a:gd name="connsiteY160" fmla="*/ 2517252 h 4420427"/>
              <a:gd name="connsiteX161" fmla="*/ 2839770 w 4439724"/>
              <a:gd name="connsiteY161" fmla="*/ 2553687 h 4420427"/>
              <a:gd name="connsiteX162" fmla="*/ 2818338 w 4439724"/>
              <a:gd name="connsiteY162" fmla="*/ 2590121 h 4420427"/>
              <a:gd name="connsiteX163" fmla="*/ 2799049 w 4439724"/>
              <a:gd name="connsiteY163" fmla="*/ 2626556 h 4420427"/>
              <a:gd name="connsiteX164" fmla="*/ 2773330 w 4439724"/>
              <a:gd name="connsiteY164" fmla="*/ 2658704 h 4420427"/>
              <a:gd name="connsiteX165" fmla="*/ 2745468 w 4439724"/>
              <a:gd name="connsiteY165" fmla="*/ 2695139 h 4420427"/>
              <a:gd name="connsiteX166" fmla="*/ 2713320 w 4439724"/>
              <a:gd name="connsiteY166" fmla="*/ 2725144 h 4420427"/>
              <a:gd name="connsiteX167" fmla="*/ 2691888 w 4439724"/>
              <a:gd name="connsiteY167" fmla="*/ 2746576 h 4420427"/>
              <a:gd name="connsiteX168" fmla="*/ 2668312 w 4439724"/>
              <a:gd name="connsiteY168" fmla="*/ 2765865 h 4420427"/>
              <a:gd name="connsiteX169" fmla="*/ 2640451 w 4439724"/>
              <a:gd name="connsiteY169" fmla="*/ 2787297 h 4420427"/>
              <a:gd name="connsiteX170" fmla="*/ 2614732 w 4439724"/>
              <a:gd name="connsiteY170" fmla="*/ 2806586 h 4420427"/>
              <a:gd name="connsiteX171" fmla="*/ 2601873 w 4439724"/>
              <a:gd name="connsiteY171" fmla="*/ 2813016 h 4420427"/>
              <a:gd name="connsiteX172" fmla="*/ 2593300 w 4439724"/>
              <a:gd name="connsiteY172" fmla="*/ 2819445 h 4420427"/>
              <a:gd name="connsiteX173" fmla="*/ 2586870 w 4439724"/>
              <a:gd name="connsiteY173" fmla="*/ 2823732 h 4420427"/>
              <a:gd name="connsiteX174" fmla="*/ 2580441 w 4439724"/>
              <a:gd name="connsiteY174" fmla="*/ 2828018 h 4420427"/>
              <a:gd name="connsiteX175" fmla="*/ 2576154 w 4439724"/>
              <a:gd name="connsiteY175" fmla="*/ 2830162 h 4420427"/>
              <a:gd name="connsiteX176" fmla="*/ 2569725 w 4439724"/>
              <a:gd name="connsiteY176" fmla="*/ 2834448 h 4420427"/>
              <a:gd name="connsiteX177" fmla="*/ 2567581 w 4439724"/>
              <a:gd name="connsiteY177" fmla="*/ 2834448 h 4420427"/>
              <a:gd name="connsiteX178" fmla="*/ 2556865 w 4439724"/>
              <a:gd name="connsiteY178" fmla="*/ 2840878 h 4420427"/>
              <a:gd name="connsiteX179" fmla="*/ 2529003 w 4439724"/>
              <a:gd name="connsiteY179" fmla="*/ 2855880 h 4420427"/>
              <a:gd name="connsiteX180" fmla="*/ 2503285 w 4439724"/>
              <a:gd name="connsiteY180" fmla="*/ 2868739 h 4420427"/>
              <a:gd name="connsiteX181" fmla="*/ 2501142 w 4439724"/>
              <a:gd name="connsiteY181" fmla="*/ 2868739 h 4420427"/>
              <a:gd name="connsiteX182" fmla="*/ 2498998 w 4439724"/>
              <a:gd name="connsiteY182" fmla="*/ 2868739 h 4420427"/>
              <a:gd name="connsiteX183" fmla="*/ 2481853 w 4439724"/>
              <a:gd name="connsiteY183" fmla="*/ 2879455 h 4420427"/>
              <a:gd name="connsiteX184" fmla="*/ 2460421 w 4439724"/>
              <a:gd name="connsiteY184" fmla="*/ 2888028 h 4420427"/>
              <a:gd name="connsiteX185" fmla="*/ 2458277 w 4439724"/>
              <a:gd name="connsiteY185" fmla="*/ 2888028 h 4420427"/>
              <a:gd name="connsiteX186" fmla="*/ 2447561 w 4439724"/>
              <a:gd name="connsiteY186" fmla="*/ 2890172 h 4420427"/>
              <a:gd name="connsiteX187" fmla="*/ 2438988 w 4439724"/>
              <a:gd name="connsiteY187" fmla="*/ 2894458 h 4420427"/>
              <a:gd name="connsiteX188" fmla="*/ 2436845 w 4439724"/>
              <a:gd name="connsiteY188" fmla="*/ 2894458 h 4420427"/>
              <a:gd name="connsiteX189" fmla="*/ 2408983 w 4439724"/>
              <a:gd name="connsiteY189" fmla="*/ 2905174 h 4420427"/>
              <a:gd name="connsiteX190" fmla="*/ 2376835 w 4439724"/>
              <a:gd name="connsiteY190" fmla="*/ 2911604 h 4420427"/>
              <a:gd name="connsiteX191" fmla="*/ 2366119 w 4439724"/>
              <a:gd name="connsiteY191" fmla="*/ 2913747 h 4420427"/>
              <a:gd name="connsiteX192" fmla="*/ 2363976 w 4439724"/>
              <a:gd name="connsiteY192" fmla="*/ 2915890 h 4420427"/>
              <a:gd name="connsiteX193" fmla="*/ 2355403 w 4439724"/>
              <a:gd name="connsiteY193" fmla="*/ 2918033 h 4420427"/>
              <a:gd name="connsiteX194" fmla="*/ 2340401 w 4439724"/>
              <a:gd name="connsiteY194" fmla="*/ 2920177 h 4420427"/>
              <a:gd name="connsiteX195" fmla="*/ 2327541 w 4439724"/>
              <a:gd name="connsiteY195" fmla="*/ 2922320 h 4420427"/>
              <a:gd name="connsiteX196" fmla="*/ 2203235 w 4439724"/>
              <a:gd name="connsiteY196" fmla="*/ 2930893 h 4420427"/>
              <a:gd name="connsiteX197" fmla="*/ 2196805 w 4439724"/>
              <a:gd name="connsiteY197" fmla="*/ 2933036 h 4420427"/>
              <a:gd name="connsiteX198" fmla="*/ 2186089 w 4439724"/>
              <a:gd name="connsiteY198" fmla="*/ 2930893 h 4420427"/>
              <a:gd name="connsiteX199" fmla="*/ 2156084 w 4439724"/>
              <a:gd name="connsiteY199" fmla="*/ 2930893 h 4420427"/>
              <a:gd name="connsiteX200" fmla="*/ 2128222 w 4439724"/>
              <a:gd name="connsiteY200" fmla="*/ 2924463 h 4420427"/>
              <a:gd name="connsiteX201" fmla="*/ 2126079 w 4439724"/>
              <a:gd name="connsiteY201" fmla="*/ 2924463 h 4420427"/>
              <a:gd name="connsiteX202" fmla="*/ 2117506 w 4439724"/>
              <a:gd name="connsiteY202" fmla="*/ 2924463 h 4420427"/>
              <a:gd name="connsiteX203" fmla="*/ 2115363 w 4439724"/>
              <a:gd name="connsiteY203" fmla="*/ 2924463 h 4420427"/>
              <a:gd name="connsiteX204" fmla="*/ 2113220 w 4439724"/>
              <a:gd name="connsiteY204" fmla="*/ 2922320 h 4420427"/>
              <a:gd name="connsiteX205" fmla="*/ 2111077 w 4439724"/>
              <a:gd name="connsiteY205" fmla="*/ 2922320 h 4420427"/>
              <a:gd name="connsiteX206" fmla="*/ 2106790 w 4439724"/>
              <a:gd name="connsiteY206" fmla="*/ 2922320 h 4420427"/>
              <a:gd name="connsiteX207" fmla="*/ 2104647 w 4439724"/>
              <a:gd name="connsiteY207" fmla="*/ 2922320 h 4420427"/>
              <a:gd name="connsiteX208" fmla="*/ 2100360 w 4439724"/>
              <a:gd name="connsiteY208" fmla="*/ 2922320 h 4420427"/>
              <a:gd name="connsiteX209" fmla="*/ 2091788 w 4439724"/>
              <a:gd name="connsiteY209" fmla="*/ 2922320 h 4420427"/>
              <a:gd name="connsiteX210" fmla="*/ 2089644 w 4439724"/>
              <a:gd name="connsiteY210" fmla="*/ 2920177 h 4420427"/>
              <a:gd name="connsiteX211" fmla="*/ 2076785 w 4439724"/>
              <a:gd name="connsiteY211" fmla="*/ 2920177 h 4420427"/>
              <a:gd name="connsiteX212" fmla="*/ 2044637 w 4439724"/>
              <a:gd name="connsiteY212" fmla="*/ 2922320 h 4420427"/>
              <a:gd name="connsiteX213" fmla="*/ 2012489 w 4439724"/>
              <a:gd name="connsiteY213" fmla="*/ 2924463 h 4420427"/>
              <a:gd name="connsiteX214" fmla="*/ 1982484 w 4439724"/>
              <a:gd name="connsiteY214" fmla="*/ 2930893 h 4420427"/>
              <a:gd name="connsiteX215" fmla="*/ 1948192 w 4439724"/>
              <a:gd name="connsiteY215" fmla="*/ 2935179 h 4420427"/>
              <a:gd name="connsiteX216" fmla="*/ 1918187 w 4439724"/>
              <a:gd name="connsiteY216" fmla="*/ 2941609 h 4420427"/>
              <a:gd name="connsiteX217" fmla="*/ 1888182 w 4439724"/>
              <a:gd name="connsiteY217" fmla="*/ 2950182 h 4420427"/>
              <a:gd name="connsiteX218" fmla="*/ 1858177 w 4439724"/>
              <a:gd name="connsiteY218" fmla="*/ 2963041 h 4420427"/>
              <a:gd name="connsiteX219" fmla="*/ 1828172 w 4439724"/>
              <a:gd name="connsiteY219" fmla="*/ 2973757 h 4420427"/>
              <a:gd name="connsiteX220" fmla="*/ 1808883 w 4439724"/>
              <a:gd name="connsiteY220" fmla="*/ 2984473 h 4420427"/>
              <a:gd name="connsiteX221" fmla="*/ 1787451 w 4439724"/>
              <a:gd name="connsiteY221" fmla="*/ 2993046 h 4420427"/>
              <a:gd name="connsiteX222" fmla="*/ 1742443 w 4439724"/>
              <a:gd name="connsiteY222" fmla="*/ 3020908 h 4420427"/>
              <a:gd name="connsiteX223" fmla="*/ 1695293 w 4439724"/>
              <a:gd name="connsiteY223" fmla="*/ 3050913 h 4420427"/>
              <a:gd name="connsiteX224" fmla="*/ 1650285 w 4439724"/>
              <a:gd name="connsiteY224" fmla="*/ 3085204 h 4420427"/>
              <a:gd name="connsiteX225" fmla="*/ 1611707 w 4439724"/>
              <a:gd name="connsiteY225" fmla="*/ 3123782 h 4420427"/>
              <a:gd name="connsiteX226" fmla="*/ 1607421 w 4439724"/>
              <a:gd name="connsiteY226" fmla="*/ 3125925 h 4420427"/>
              <a:gd name="connsiteX227" fmla="*/ 1583846 w 4439724"/>
              <a:gd name="connsiteY227" fmla="*/ 3153787 h 4420427"/>
              <a:gd name="connsiteX228" fmla="*/ 1560270 w 4439724"/>
              <a:gd name="connsiteY228" fmla="*/ 3181649 h 4420427"/>
              <a:gd name="connsiteX229" fmla="*/ 1538838 w 4439724"/>
              <a:gd name="connsiteY229" fmla="*/ 3209511 h 4420427"/>
              <a:gd name="connsiteX230" fmla="*/ 1517406 w 4439724"/>
              <a:gd name="connsiteY230" fmla="*/ 3241659 h 4420427"/>
              <a:gd name="connsiteX231" fmla="*/ 1495974 w 4439724"/>
              <a:gd name="connsiteY231" fmla="*/ 3282380 h 4420427"/>
              <a:gd name="connsiteX232" fmla="*/ 1474542 w 4439724"/>
              <a:gd name="connsiteY232" fmla="*/ 3323101 h 4420427"/>
              <a:gd name="connsiteX233" fmla="*/ 1459539 w 4439724"/>
              <a:gd name="connsiteY233" fmla="*/ 3365965 h 4420427"/>
              <a:gd name="connsiteX234" fmla="*/ 1444537 w 4439724"/>
              <a:gd name="connsiteY234" fmla="*/ 3408830 h 4420427"/>
              <a:gd name="connsiteX235" fmla="*/ 1435964 w 4439724"/>
              <a:gd name="connsiteY235" fmla="*/ 3451694 h 4420427"/>
              <a:gd name="connsiteX236" fmla="*/ 1427391 w 4439724"/>
              <a:gd name="connsiteY236" fmla="*/ 3496701 h 4420427"/>
              <a:gd name="connsiteX237" fmla="*/ 1425248 w 4439724"/>
              <a:gd name="connsiteY237" fmla="*/ 3541709 h 4420427"/>
              <a:gd name="connsiteX238" fmla="*/ 1420961 w 4439724"/>
              <a:gd name="connsiteY238" fmla="*/ 3586716 h 4420427"/>
              <a:gd name="connsiteX239" fmla="*/ 1425248 w 4439724"/>
              <a:gd name="connsiteY239" fmla="*/ 3601719 h 4420427"/>
              <a:gd name="connsiteX240" fmla="*/ 1427391 w 4439724"/>
              <a:gd name="connsiteY240" fmla="*/ 3610292 h 4420427"/>
              <a:gd name="connsiteX241" fmla="*/ 1427391 w 4439724"/>
              <a:gd name="connsiteY241" fmla="*/ 3614578 h 4420427"/>
              <a:gd name="connsiteX242" fmla="*/ 1427391 w 4439724"/>
              <a:gd name="connsiteY242" fmla="*/ 3616721 h 4420427"/>
              <a:gd name="connsiteX243" fmla="*/ 1427391 w 4439724"/>
              <a:gd name="connsiteY243" fmla="*/ 3621008 h 4420427"/>
              <a:gd name="connsiteX244" fmla="*/ 1427391 w 4439724"/>
              <a:gd name="connsiteY244" fmla="*/ 3625294 h 4420427"/>
              <a:gd name="connsiteX245" fmla="*/ 1427391 w 4439724"/>
              <a:gd name="connsiteY245" fmla="*/ 3627438 h 4420427"/>
              <a:gd name="connsiteX246" fmla="*/ 1427391 w 4439724"/>
              <a:gd name="connsiteY246" fmla="*/ 3631724 h 4420427"/>
              <a:gd name="connsiteX247" fmla="*/ 1429534 w 4439724"/>
              <a:gd name="connsiteY247" fmla="*/ 3636010 h 4420427"/>
              <a:gd name="connsiteX248" fmla="*/ 1429534 w 4439724"/>
              <a:gd name="connsiteY248" fmla="*/ 3638154 h 4420427"/>
              <a:gd name="connsiteX249" fmla="*/ 1429534 w 4439724"/>
              <a:gd name="connsiteY249" fmla="*/ 3640297 h 4420427"/>
              <a:gd name="connsiteX250" fmla="*/ 1429534 w 4439724"/>
              <a:gd name="connsiteY250" fmla="*/ 3648870 h 4420427"/>
              <a:gd name="connsiteX251" fmla="*/ 1429534 w 4439724"/>
              <a:gd name="connsiteY251" fmla="*/ 3651013 h 4420427"/>
              <a:gd name="connsiteX252" fmla="*/ 1429534 w 4439724"/>
              <a:gd name="connsiteY252" fmla="*/ 3655299 h 4420427"/>
              <a:gd name="connsiteX253" fmla="*/ 1431677 w 4439724"/>
              <a:gd name="connsiteY253" fmla="*/ 3674588 h 4420427"/>
              <a:gd name="connsiteX254" fmla="*/ 1433820 w 4439724"/>
              <a:gd name="connsiteY254" fmla="*/ 3691734 h 4420427"/>
              <a:gd name="connsiteX255" fmla="*/ 1433820 w 4439724"/>
              <a:gd name="connsiteY255" fmla="*/ 3696020 h 4420427"/>
              <a:gd name="connsiteX256" fmla="*/ 1431677 w 4439724"/>
              <a:gd name="connsiteY256" fmla="*/ 3708880 h 4420427"/>
              <a:gd name="connsiteX257" fmla="*/ 1425248 w 4439724"/>
              <a:gd name="connsiteY257" fmla="*/ 3826757 h 4420427"/>
              <a:gd name="connsiteX258" fmla="*/ 1420961 w 4439724"/>
              <a:gd name="connsiteY258" fmla="*/ 3839616 h 4420427"/>
              <a:gd name="connsiteX259" fmla="*/ 1418818 w 4439724"/>
              <a:gd name="connsiteY259" fmla="*/ 3850332 h 4420427"/>
              <a:gd name="connsiteX260" fmla="*/ 1416675 w 4439724"/>
              <a:gd name="connsiteY260" fmla="*/ 3852475 h 4420427"/>
              <a:gd name="connsiteX261" fmla="*/ 1414532 w 4439724"/>
              <a:gd name="connsiteY261" fmla="*/ 3867478 h 4420427"/>
              <a:gd name="connsiteX262" fmla="*/ 1414532 w 4439724"/>
              <a:gd name="connsiteY262" fmla="*/ 3871764 h 4420427"/>
              <a:gd name="connsiteX263" fmla="*/ 1408102 w 4439724"/>
              <a:gd name="connsiteY263" fmla="*/ 3895339 h 4420427"/>
              <a:gd name="connsiteX264" fmla="*/ 1401672 w 4439724"/>
              <a:gd name="connsiteY264" fmla="*/ 3916772 h 4420427"/>
              <a:gd name="connsiteX265" fmla="*/ 1395243 w 4439724"/>
              <a:gd name="connsiteY265" fmla="*/ 3936060 h 4420427"/>
              <a:gd name="connsiteX266" fmla="*/ 1386670 w 4439724"/>
              <a:gd name="connsiteY266" fmla="*/ 3957493 h 4420427"/>
              <a:gd name="connsiteX267" fmla="*/ 1382383 w 4439724"/>
              <a:gd name="connsiteY267" fmla="*/ 3970352 h 4420427"/>
              <a:gd name="connsiteX268" fmla="*/ 1378097 w 4439724"/>
              <a:gd name="connsiteY268" fmla="*/ 3981068 h 4420427"/>
              <a:gd name="connsiteX269" fmla="*/ 1375954 w 4439724"/>
              <a:gd name="connsiteY269" fmla="*/ 3989641 h 4420427"/>
              <a:gd name="connsiteX270" fmla="*/ 1369524 w 4439724"/>
              <a:gd name="connsiteY270" fmla="*/ 4000357 h 4420427"/>
              <a:gd name="connsiteX271" fmla="*/ 1360951 w 4439724"/>
              <a:gd name="connsiteY271" fmla="*/ 4021789 h 4420427"/>
              <a:gd name="connsiteX272" fmla="*/ 1352378 w 4439724"/>
              <a:gd name="connsiteY272" fmla="*/ 4036792 h 4420427"/>
              <a:gd name="connsiteX273" fmla="*/ 1341662 w 4439724"/>
              <a:gd name="connsiteY273" fmla="*/ 4056081 h 4420427"/>
              <a:gd name="connsiteX274" fmla="*/ 1330946 w 4439724"/>
              <a:gd name="connsiteY274" fmla="*/ 4075369 h 4420427"/>
              <a:gd name="connsiteX275" fmla="*/ 1333089 w 4439724"/>
              <a:gd name="connsiteY275" fmla="*/ 4073226 h 4420427"/>
              <a:gd name="connsiteX276" fmla="*/ 1328803 w 4439724"/>
              <a:gd name="connsiteY276" fmla="*/ 4079656 h 4420427"/>
              <a:gd name="connsiteX277" fmla="*/ 1320230 w 4439724"/>
              <a:gd name="connsiteY277" fmla="*/ 4092515 h 4420427"/>
              <a:gd name="connsiteX278" fmla="*/ 1307371 w 4439724"/>
              <a:gd name="connsiteY278" fmla="*/ 4111804 h 4420427"/>
              <a:gd name="connsiteX279" fmla="*/ 1307371 w 4439724"/>
              <a:gd name="connsiteY279" fmla="*/ 4113947 h 4420427"/>
              <a:gd name="connsiteX280" fmla="*/ 1288082 w 4439724"/>
              <a:gd name="connsiteY280" fmla="*/ 4139666 h 4420427"/>
              <a:gd name="connsiteX281" fmla="*/ 1268793 w 4439724"/>
              <a:gd name="connsiteY281" fmla="*/ 4165385 h 4420427"/>
              <a:gd name="connsiteX282" fmla="*/ 1247361 w 4439724"/>
              <a:gd name="connsiteY282" fmla="*/ 4188960 h 4420427"/>
              <a:gd name="connsiteX283" fmla="*/ 1225929 w 4439724"/>
              <a:gd name="connsiteY283" fmla="*/ 4212535 h 4420427"/>
              <a:gd name="connsiteX284" fmla="*/ 1198067 w 4439724"/>
              <a:gd name="connsiteY284" fmla="*/ 4240397 h 4420427"/>
              <a:gd name="connsiteX285" fmla="*/ 1168062 w 4439724"/>
              <a:gd name="connsiteY285" fmla="*/ 4266116 h 4420427"/>
              <a:gd name="connsiteX286" fmla="*/ 1135914 w 4439724"/>
              <a:gd name="connsiteY286" fmla="*/ 4289691 h 4420427"/>
              <a:gd name="connsiteX287" fmla="*/ 1103765 w 4439724"/>
              <a:gd name="connsiteY287" fmla="*/ 4308980 h 4420427"/>
              <a:gd name="connsiteX288" fmla="*/ 1060901 w 4439724"/>
              <a:gd name="connsiteY288" fmla="*/ 4334699 h 4420427"/>
              <a:gd name="connsiteX289" fmla="*/ 1015894 w 4439724"/>
              <a:gd name="connsiteY289" fmla="*/ 4358274 h 4420427"/>
              <a:gd name="connsiteX290" fmla="*/ 968743 w 4439724"/>
              <a:gd name="connsiteY290" fmla="*/ 4377563 h 4420427"/>
              <a:gd name="connsiteX291" fmla="*/ 921592 w 4439724"/>
              <a:gd name="connsiteY291" fmla="*/ 4392565 h 4420427"/>
              <a:gd name="connsiteX292" fmla="*/ 874441 w 4439724"/>
              <a:gd name="connsiteY292" fmla="*/ 4405425 h 4420427"/>
              <a:gd name="connsiteX293" fmla="*/ 825147 w 4439724"/>
              <a:gd name="connsiteY293" fmla="*/ 4411854 h 4420427"/>
              <a:gd name="connsiteX294" fmla="*/ 773710 w 4439724"/>
              <a:gd name="connsiteY294" fmla="*/ 4420427 h 4420427"/>
              <a:gd name="connsiteX295" fmla="*/ 724416 w 4439724"/>
              <a:gd name="connsiteY295" fmla="*/ 4420427 h 4420427"/>
              <a:gd name="connsiteX296" fmla="*/ 687982 w 4439724"/>
              <a:gd name="connsiteY296" fmla="*/ 4420427 h 4420427"/>
              <a:gd name="connsiteX297" fmla="*/ 651547 w 4439724"/>
              <a:gd name="connsiteY297" fmla="*/ 4418284 h 4420427"/>
              <a:gd name="connsiteX298" fmla="*/ 617256 w 4439724"/>
              <a:gd name="connsiteY298" fmla="*/ 4411854 h 4420427"/>
              <a:gd name="connsiteX299" fmla="*/ 585107 w 4439724"/>
              <a:gd name="connsiteY299" fmla="*/ 4405425 h 4420427"/>
              <a:gd name="connsiteX300" fmla="*/ 548673 w 4439724"/>
              <a:gd name="connsiteY300" fmla="*/ 4398995 h 4420427"/>
              <a:gd name="connsiteX301" fmla="*/ 516524 w 4439724"/>
              <a:gd name="connsiteY301" fmla="*/ 4388279 h 4420427"/>
              <a:gd name="connsiteX302" fmla="*/ 484376 w 4439724"/>
              <a:gd name="connsiteY302" fmla="*/ 4377563 h 4420427"/>
              <a:gd name="connsiteX303" fmla="*/ 452228 w 4439724"/>
              <a:gd name="connsiteY303" fmla="*/ 4366847 h 4420427"/>
              <a:gd name="connsiteX304" fmla="*/ 432939 w 4439724"/>
              <a:gd name="connsiteY304" fmla="*/ 4358274 h 4420427"/>
              <a:gd name="connsiteX305" fmla="*/ 409364 w 4439724"/>
              <a:gd name="connsiteY305" fmla="*/ 4347558 h 4420427"/>
              <a:gd name="connsiteX306" fmla="*/ 383645 w 4439724"/>
              <a:gd name="connsiteY306" fmla="*/ 4332555 h 4420427"/>
              <a:gd name="connsiteX307" fmla="*/ 360070 w 4439724"/>
              <a:gd name="connsiteY307" fmla="*/ 4319696 h 4420427"/>
              <a:gd name="connsiteX308" fmla="*/ 334351 w 4439724"/>
              <a:gd name="connsiteY308" fmla="*/ 4304694 h 4420427"/>
              <a:gd name="connsiteX309" fmla="*/ 310776 w 4439724"/>
              <a:gd name="connsiteY309" fmla="*/ 4289691 h 4420427"/>
              <a:gd name="connsiteX310" fmla="*/ 287200 w 4439724"/>
              <a:gd name="connsiteY310" fmla="*/ 4270402 h 4420427"/>
              <a:gd name="connsiteX311" fmla="*/ 265768 w 4439724"/>
              <a:gd name="connsiteY311" fmla="*/ 4251113 h 4420427"/>
              <a:gd name="connsiteX312" fmla="*/ 242193 w 4439724"/>
              <a:gd name="connsiteY312" fmla="*/ 4233967 h 4420427"/>
              <a:gd name="connsiteX313" fmla="*/ 220761 w 4439724"/>
              <a:gd name="connsiteY313" fmla="*/ 4212535 h 4420427"/>
              <a:gd name="connsiteX314" fmla="*/ 192899 w 4439724"/>
              <a:gd name="connsiteY314" fmla="*/ 4182530 h 4420427"/>
              <a:gd name="connsiteX315" fmla="*/ 167180 w 4439724"/>
              <a:gd name="connsiteY315" fmla="*/ 4152525 h 4420427"/>
              <a:gd name="connsiteX316" fmla="*/ 143605 w 4439724"/>
              <a:gd name="connsiteY316" fmla="*/ 4120377 h 4420427"/>
              <a:gd name="connsiteX317" fmla="*/ 120030 w 4439724"/>
              <a:gd name="connsiteY317" fmla="*/ 4086086 h 4420427"/>
              <a:gd name="connsiteX318" fmla="*/ 100741 w 4439724"/>
              <a:gd name="connsiteY318" fmla="*/ 4053937 h 4420427"/>
              <a:gd name="connsiteX319" fmla="*/ 83595 w 4439724"/>
              <a:gd name="connsiteY319" fmla="*/ 4019646 h 4420427"/>
              <a:gd name="connsiteX320" fmla="*/ 66449 w 4439724"/>
              <a:gd name="connsiteY320" fmla="*/ 3981068 h 4420427"/>
              <a:gd name="connsiteX321" fmla="*/ 53591 w 4439724"/>
              <a:gd name="connsiteY321" fmla="*/ 3944633 h 4420427"/>
              <a:gd name="connsiteX322" fmla="*/ 45017 w 4439724"/>
              <a:gd name="connsiteY322" fmla="*/ 3925344 h 4420427"/>
              <a:gd name="connsiteX323" fmla="*/ 40731 w 4439724"/>
              <a:gd name="connsiteY323" fmla="*/ 3906055 h 4420427"/>
              <a:gd name="connsiteX324" fmla="*/ 36444 w 4439724"/>
              <a:gd name="connsiteY324" fmla="*/ 3888910 h 4420427"/>
              <a:gd name="connsiteX325" fmla="*/ 32158 w 4439724"/>
              <a:gd name="connsiteY325" fmla="*/ 3869621 h 4420427"/>
              <a:gd name="connsiteX326" fmla="*/ 21442 w 4439724"/>
              <a:gd name="connsiteY326" fmla="*/ 3828900 h 4420427"/>
              <a:gd name="connsiteX327" fmla="*/ 17156 w 4439724"/>
              <a:gd name="connsiteY327" fmla="*/ 3790322 h 4420427"/>
              <a:gd name="connsiteX328" fmla="*/ 15013 w 4439724"/>
              <a:gd name="connsiteY328" fmla="*/ 3749601 h 4420427"/>
              <a:gd name="connsiteX329" fmla="*/ 12869 w 4439724"/>
              <a:gd name="connsiteY329" fmla="*/ 3711023 h 4420427"/>
              <a:gd name="connsiteX330" fmla="*/ 12869 w 4439724"/>
              <a:gd name="connsiteY330" fmla="*/ 3674588 h 4420427"/>
              <a:gd name="connsiteX331" fmla="*/ 17156 w 4439724"/>
              <a:gd name="connsiteY331" fmla="*/ 3638154 h 4420427"/>
              <a:gd name="connsiteX332" fmla="*/ 19299 w 4439724"/>
              <a:gd name="connsiteY332" fmla="*/ 3603862 h 4420427"/>
              <a:gd name="connsiteX333" fmla="*/ 27872 w 4439724"/>
              <a:gd name="connsiteY333" fmla="*/ 3571714 h 4420427"/>
              <a:gd name="connsiteX334" fmla="*/ 34301 w 4439724"/>
              <a:gd name="connsiteY334" fmla="*/ 3535279 h 4420427"/>
              <a:gd name="connsiteX335" fmla="*/ 42874 w 4439724"/>
              <a:gd name="connsiteY335" fmla="*/ 3503131 h 4420427"/>
              <a:gd name="connsiteX336" fmla="*/ 55733 w 4439724"/>
              <a:gd name="connsiteY336" fmla="*/ 3470983 h 4420427"/>
              <a:gd name="connsiteX337" fmla="*/ 66449 w 4439724"/>
              <a:gd name="connsiteY337" fmla="*/ 3438835 h 4420427"/>
              <a:gd name="connsiteX338" fmla="*/ 72879 w 4439724"/>
              <a:gd name="connsiteY338" fmla="*/ 3419546 h 4420427"/>
              <a:gd name="connsiteX339" fmla="*/ 85738 w 4439724"/>
              <a:gd name="connsiteY339" fmla="*/ 3395970 h 4420427"/>
              <a:gd name="connsiteX340" fmla="*/ 98597 w 4439724"/>
              <a:gd name="connsiteY340" fmla="*/ 3370252 h 4420427"/>
              <a:gd name="connsiteX341" fmla="*/ 113600 w 4439724"/>
              <a:gd name="connsiteY341" fmla="*/ 3346676 h 4420427"/>
              <a:gd name="connsiteX342" fmla="*/ 128602 w 4439724"/>
              <a:gd name="connsiteY342" fmla="*/ 3320958 h 4420427"/>
              <a:gd name="connsiteX343" fmla="*/ 145748 w 4439724"/>
              <a:gd name="connsiteY343" fmla="*/ 3297382 h 4420427"/>
              <a:gd name="connsiteX344" fmla="*/ 162894 w 4439724"/>
              <a:gd name="connsiteY344" fmla="*/ 3275950 h 4420427"/>
              <a:gd name="connsiteX345" fmla="*/ 180040 w 4439724"/>
              <a:gd name="connsiteY345" fmla="*/ 3252375 h 4420427"/>
              <a:gd name="connsiteX346" fmla="*/ 199329 w 4439724"/>
              <a:gd name="connsiteY346" fmla="*/ 3230943 h 4420427"/>
              <a:gd name="connsiteX347" fmla="*/ 220761 w 4439724"/>
              <a:gd name="connsiteY347" fmla="*/ 3207367 h 4420427"/>
              <a:gd name="connsiteX348" fmla="*/ 244336 w 4439724"/>
              <a:gd name="connsiteY348" fmla="*/ 3185935 h 4420427"/>
              <a:gd name="connsiteX349" fmla="*/ 270055 w 4439724"/>
              <a:gd name="connsiteY349" fmla="*/ 3164503 h 4420427"/>
              <a:gd name="connsiteX350" fmla="*/ 295773 w 4439724"/>
              <a:gd name="connsiteY350" fmla="*/ 3145214 h 4420427"/>
              <a:gd name="connsiteX351" fmla="*/ 323635 w 4439724"/>
              <a:gd name="connsiteY351" fmla="*/ 3125925 h 4420427"/>
              <a:gd name="connsiteX352" fmla="*/ 338638 w 4439724"/>
              <a:gd name="connsiteY352" fmla="*/ 3113066 h 4420427"/>
              <a:gd name="connsiteX353" fmla="*/ 353640 w 4439724"/>
              <a:gd name="connsiteY353" fmla="*/ 3104493 h 4420427"/>
              <a:gd name="connsiteX354" fmla="*/ 355783 w 4439724"/>
              <a:gd name="connsiteY354" fmla="*/ 3104493 h 4420427"/>
              <a:gd name="connsiteX355" fmla="*/ 357927 w 4439724"/>
              <a:gd name="connsiteY355" fmla="*/ 3102350 h 4420427"/>
              <a:gd name="connsiteX356" fmla="*/ 360070 w 4439724"/>
              <a:gd name="connsiteY356" fmla="*/ 3102350 h 4420427"/>
              <a:gd name="connsiteX357" fmla="*/ 366499 w 4439724"/>
              <a:gd name="connsiteY357" fmla="*/ 3098063 h 4420427"/>
              <a:gd name="connsiteX358" fmla="*/ 370786 w 4439724"/>
              <a:gd name="connsiteY358" fmla="*/ 3095920 h 4420427"/>
              <a:gd name="connsiteX359" fmla="*/ 379359 w 4439724"/>
              <a:gd name="connsiteY359" fmla="*/ 3091634 h 4420427"/>
              <a:gd name="connsiteX360" fmla="*/ 407220 w 4439724"/>
              <a:gd name="connsiteY360" fmla="*/ 3076631 h 4420427"/>
              <a:gd name="connsiteX361" fmla="*/ 432939 w 4439724"/>
              <a:gd name="connsiteY361" fmla="*/ 3065915 h 4420427"/>
              <a:gd name="connsiteX362" fmla="*/ 432939 w 4439724"/>
              <a:gd name="connsiteY362" fmla="*/ 3063772 h 4420427"/>
              <a:gd name="connsiteX363" fmla="*/ 435082 w 4439724"/>
              <a:gd name="connsiteY363" fmla="*/ 3063772 h 4420427"/>
              <a:gd name="connsiteX364" fmla="*/ 456514 w 4439724"/>
              <a:gd name="connsiteY364" fmla="*/ 3053056 h 4420427"/>
              <a:gd name="connsiteX365" fmla="*/ 471517 w 4439724"/>
              <a:gd name="connsiteY365" fmla="*/ 3046626 h 4420427"/>
              <a:gd name="connsiteX366" fmla="*/ 475803 w 4439724"/>
              <a:gd name="connsiteY366" fmla="*/ 3046626 h 4420427"/>
              <a:gd name="connsiteX367" fmla="*/ 492949 w 4439724"/>
              <a:gd name="connsiteY367" fmla="*/ 3040197 h 4420427"/>
              <a:gd name="connsiteX368" fmla="*/ 516524 w 4439724"/>
              <a:gd name="connsiteY368" fmla="*/ 3031624 h 4420427"/>
              <a:gd name="connsiteX369" fmla="*/ 540100 w 4439724"/>
              <a:gd name="connsiteY369" fmla="*/ 3025194 h 4420427"/>
              <a:gd name="connsiteX370" fmla="*/ 561532 w 4439724"/>
              <a:gd name="connsiteY370" fmla="*/ 3020908 h 4420427"/>
              <a:gd name="connsiteX371" fmla="*/ 570105 w 4439724"/>
              <a:gd name="connsiteY371" fmla="*/ 3018764 h 4420427"/>
              <a:gd name="connsiteX372" fmla="*/ 585107 w 4439724"/>
              <a:gd name="connsiteY372" fmla="*/ 3014478 h 4420427"/>
              <a:gd name="connsiteX373" fmla="*/ 597967 w 4439724"/>
              <a:gd name="connsiteY373" fmla="*/ 3012335 h 4420427"/>
              <a:gd name="connsiteX374" fmla="*/ 608683 w 4439724"/>
              <a:gd name="connsiteY374" fmla="*/ 3012335 h 4420427"/>
              <a:gd name="connsiteX375" fmla="*/ 732989 w 4439724"/>
              <a:gd name="connsiteY375" fmla="*/ 3001619 h 4420427"/>
              <a:gd name="connsiteX376" fmla="*/ 739419 w 4439724"/>
              <a:gd name="connsiteY376" fmla="*/ 3001619 h 4420427"/>
              <a:gd name="connsiteX377" fmla="*/ 750135 w 4439724"/>
              <a:gd name="connsiteY377" fmla="*/ 3001619 h 4420427"/>
              <a:gd name="connsiteX378" fmla="*/ 767281 w 4439724"/>
              <a:gd name="connsiteY378" fmla="*/ 3001619 h 4420427"/>
              <a:gd name="connsiteX379" fmla="*/ 782283 w 4439724"/>
              <a:gd name="connsiteY379" fmla="*/ 3003762 h 4420427"/>
              <a:gd name="connsiteX380" fmla="*/ 795142 w 4439724"/>
              <a:gd name="connsiteY380" fmla="*/ 3005905 h 4420427"/>
              <a:gd name="connsiteX381" fmla="*/ 812288 w 4439724"/>
              <a:gd name="connsiteY381" fmla="*/ 3010192 h 4420427"/>
              <a:gd name="connsiteX382" fmla="*/ 818718 w 4439724"/>
              <a:gd name="connsiteY382" fmla="*/ 3010192 h 4420427"/>
              <a:gd name="connsiteX383" fmla="*/ 820861 w 4439724"/>
              <a:gd name="connsiteY383" fmla="*/ 3010192 h 4420427"/>
              <a:gd name="connsiteX384" fmla="*/ 823004 w 4439724"/>
              <a:gd name="connsiteY384" fmla="*/ 3010192 h 4420427"/>
              <a:gd name="connsiteX385" fmla="*/ 825147 w 4439724"/>
              <a:gd name="connsiteY385" fmla="*/ 3010192 h 4420427"/>
              <a:gd name="connsiteX386" fmla="*/ 827291 w 4439724"/>
              <a:gd name="connsiteY386" fmla="*/ 3010192 h 4420427"/>
              <a:gd name="connsiteX387" fmla="*/ 831577 w 4439724"/>
              <a:gd name="connsiteY387" fmla="*/ 3010192 h 4420427"/>
              <a:gd name="connsiteX388" fmla="*/ 842293 w 4439724"/>
              <a:gd name="connsiteY388" fmla="*/ 3010192 h 4420427"/>
              <a:gd name="connsiteX389" fmla="*/ 846580 w 4439724"/>
              <a:gd name="connsiteY389" fmla="*/ 3012335 h 4420427"/>
              <a:gd name="connsiteX390" fmla="*/ 848723 w 4439724"/>
              <a:gd name="connsiteY390" fmla="*/ 3012335 h 4420427"/>
              <a:gd name="connsiteX391" fmla="*/ 850866 w 4439724"/>
              <a:gd name="connsiteY391" fmla="*/ 3012335 h 4420427"/>
              <a:gd name="connsiteX392" fmla="*/ 853009 w 4439724"/>
              <a:gd name="connsiteY392" fmla="*/ 3012335 h 4420427"/>
              <a:gd name="connsiteX393" fmla="*/ 857296 w 4439724"/>
              <a:gd name="connsiteY393" fmla="*/ 3012335 h 4420427"/>
              <a:gd name="connsiteX394" fmla="*/ 859439 w 4439724"/>
              <a:gd name="connsiteY394" fmla="*/ 3012335 h 4420427"/>
              <a:gd name="connsiteX395" fmla="*/ 889444 w 4439724"/>
              <a:gd name="connsiteY395" fmla="*/ 3010192 h 4420427"/>
              <a:gd name="connsiteX396" fmla="*/ 921592 w 4439724"/>
              <a:gd name="connsiteY396" fmla="*/ 3005905 h 4420427"/>
              <a:gd name="connsiteX397" fmla="*/ 953740 w 4439724"/>
              <a:gd name="connsiteY397" fmla="*/ 3003762 h 4420427"/>
              <a:gd name="connsiteX398" fmla="*/ 985889 w 4439724"/>
              <a:gd name="connsiteY398" fmla="*/ 2997332 h 4420427"/>
              <a:gd name="connsiteX399" fmla="*/ 1015894 w 4439724"/>
              <a:gd name="connsiteY399" fmla="*/ 2990903 h 4420427"/>
              <a:gd name="connsiteX400" fmla="*/ 1045899 w 4439724"/>
              <a:gd name="connsiteY400" fmla="*/ 2980187 h 4420427"/>
              <a:gd name="connsiteX401" fmla="*/ 1078047 w 4439724"/>
              <a:gd name="connsiteY401" fmla="*/ 2969471 h 4420427"/>
              <a:gd name="connsiteX402" fmla="*/ 1110195 w 4439724"/>
              <a:gd name="connsiteY402" fmla="*/ 2958754 h 4420427"/>
              <a:gd name="connsiteX403" fmla="*/ 1127341 w 4439724"/>
              <a:gd name="connsiteY403" fmla="*/ 2948038 h 4420427"/>
              <a:gd name="connsiteX404" fmla="*/ 1146630 w 4439724"/>
              <a:gd name="connsiteY404" fmla="*/ 2939465 h 4420427"/>
              <a:gd name="connsiteX405" fmla="*/ 1195924 w 4439724"/>
              <a:gd name="connsiteY405" fmla="*/ 2913747 h 4420427"/>
              <a:gd name="connsiteX406" fmla="*/ 1240931 w 4439724"/>
              <a:gd name="connsiteY406" fmla="*/ 2881599 h 4420427"/>
              <a:gd name="connsiteX407" fmla="*/ 1283795 w 4439724"/>
              <a:gd name="connsiteY407" fmla="*/ 2847307 h 4420427"/>
              <a:gd name="connsiteX408" fmla="*/ 1324517 w 4439724"/>
              <a:gd name="connsiteY408" fmla="*/ 2808729 h 4420427"/>
              <a:gd name="connsiteX409" fmla="*/ 1326660 w 4439724"/>
              <a:gd name="connsiteY409" fmla="*/ 2808729 h 4420427"/>
              <a:gd name="connsiteX410" fmla="*/ 1352378 w 4439724"/>
              <a:gd name="connsiteY410" fmla="*/ 2780868 h 4420427"/>
              <a:gd name="connsiteX411" fmla="*/ 1375954 w 4439724"/>
              <a:gd name="connsiteY411" fmla="*/ 2750863 h 4420427"/>
              <a:gd name="connsiteX412" fmla="*/ 1395243 w 4439724"/>
              <a:gd name="connsiteY412" fmla="*/ 2723001 h 4420427"/>
              <a:gd name="connsiteX413" fmla="*/ 1416675 w 4439724"/>
              <a:gd name="connsiteY413" fmla="*/ 2690853 h 4420427"/>
              <a:gd name="connsiteX414" fmla="*/ 1438107 w 4439724"/>
              <a:gd name="connsiteY414" fmla="*/ 2650131 h 4420427"/>
              <a:gd name="connsiteX415" fmla="*/ 1459539 w 4439724"/>
              <a:gd name="connsiteY415" fmla="*/ 2611554 h 4420427"/>
              <a:gd name="connsiteX416" fmla="*/ 1474542 w 4439724"/>
              <a:gd name="connsiteY416" fmla="*/ 2568689 h 4420427"/>
              <a:gd name="connsiteX417" fmla="*/ 1489544 w 4439724"/>
              <a:gd name="connsiteY417" fmla="*/ 2523682 h 4420427"/>
              <a:gd name="connsiteX418" fmla="*/ 1498117 w 4439724"/>
              <a:gd name="connsiteY418" fmla="*/ 2482961 h 4420427"/>
              <a:gd name="connsiteX419" fmla="*/ 1508833 w 4439724"/>
              <a:gd name="connsiteY419" fmla="*/ 2437953 h 4420427"/>
              <a:gd name="connsiteX420" fmla="*/ 1510976 w 4439724"/>
              <a:gd name="connsiteY420" fmla="*/ 2390802 h 4420427"/>
              <a:gd name="connsiteX421" fmla="*/ 1513119 w 4439724"/>
              <a:gd name="connsiteY421" fmla="*/ 2347938 h 4420427"/>
              <a:gd name="connsiteX422" fmla="*/ 1510976 w 4439724"/>
              <a:gd name="connsiteY422" fmla="*/ 2330792 h 4420427"/>
              <a:gd name="connsiteX423" fmla="*/ 1508833 w 4439724"/>
              <a:gd name="connsiteY423" fmla="*/ 2315790 h 4420427"/>
              <a:gd name="connsiteX424" fmla="*/ 1508833 w 4439724"/>
              <a:gd name="connsiteY424" fmla="*/ 2309360 h 4420427"/>
              <a:gd name="connsiteX425" fmla="*/ 1508833 w 4439724"/>
              <a:gd name="connsiteY425" fmla="*/ 2307217 h 4420427"/>
              <a:gd name="connsiteX426" fmla="*/ 1508833 w 4439724"/>
              <a:gd name="connsiteY426" fmla="*/ 2302931 h 4420427"/>
              <a:gd name="connsiteX427" fmla="*/ 1508833 w 4439724"/>
              <a:gd name="connsiteY427" fmla="*/ 2300787 h 4420427"/>
              <a:gd name="connsiteX428" fmla="*/ 1506690 w 4439724"/>
              <a:gd name="connsiteY428" fmla="*/ 2287928 h 4420427"/>
              <a:gd name="connsiteX429" fmla="*/ 1504547 w 4439724"/>
              <a:gd name="connsiteY429" fmla="*/ 2270782 h 4420427"/>
              <a:gd name="connsiteX430" fmla="*/ 1504547 w 4439724"/>
              <a:gd name="connsiteY430" fmla="*/ 2249350 h 4420427"/>
              <a:gd name="connsiteX431" fmla="*/ 1500260 w 4439724"/>
              <a:gd name="connsiteY431" fmla="*/ 2236491 h 4420427"/>
              <a:gd name="connsiteX432" fmla="*/ 1504547 w 4439724"/>
              <a:gd name="connsiteY432" fmla="*/ 2227918 h 4420427"/>
              <a:gd name="connsiteX433" fmla="*/ 1513119 w 4439724"/>
              <a:gd name="connsiteY433" fmla="*/ 2103612 h 4420427"/>
              <a:gd name="connsiteX434" fmla="*/ 1513119 w 4439724"/>
              <a:gd name="connsiteY434" fmla="*/ 2095039 h 4420427"/>
              <a:gd name="connsiteX435" fmla="*/ 1515263 w 4439724"/>
              <a:gd name="connsiteY435" fmla="*/ 2086466 h 4420427"/>
              <a:gd name="connsiteX436" fmla="*/ 1517406 w 4439724"/>
              <a:gd name="connsiteY436" fmla="*/ 2073607 h 4420427"/>
              <a:gd name="connsiteX437" fmla="*/ 1519549 w 4439724"/>
              <a:gd name="connsiteY437" fmla="*/ 2065034 h 4420427"/>
              <a:gd name="connsiteX438" fmla="*/ 1521692 w 4439724"/>
              <a:gd name="connsiteY438" fmla="*/ 2060747 h 4420427"/>
              <a:gd name="connsiteX439" fmla="*/ 1525979 w 4439724"/>
              <a:gd name="connsiteY439" fmla="*/ 2037172 h 4420427"/>
              <a:gd name="connsiteX440" fmla="*/ 1532408 w 4439724"/>
              <a:gd name="connsiteY440" fmla="*/ 2020026 h 4420427"/>
              <a:gd name="connsiteX441" fmla="*/ 1538838 w 4439724"/>
              <a:gd name="connsiteY441" fmla="*/ 2000737 h 4420427"/>
              <a:gd name="connsiteX442" fmla="*/ 1545268 w 4439724"/>
              <a:gd name="connsiteY442" fmla="*/ 1977162 h 4420427"/>
              <a:gd name="connsiteX443" fmla="*/ 1551697 w 4439724"/>
              <a:gd name="connsiteY443" fmla="*/ 1960016 h 4420427"/>
              <a:gd name="connsiteX444" fmla="*/ 1558127 w 4439724"/>
              <a:gd name="connsiteY444" fmla="*/ 1951443 h 4420427"/>
              <a:gd name="connsiteX445" fmla="*/ 1560270 w 4439724"/>
              <a:gd name="connsiteY445" fmla="*/ 1947157 h 4420427"/>
              <a:gd name="connsiteX446" fmla="*/ 1566700 w 4439724"/>
              <a:gd name="connsiteY446" fmla="*/ 1932154 h 4420427"/>
              <a:gd name="connsiteX447" fmla="*/ 1575273 w 4439724"/>
              <a:gd name="connsiteY447" fmla="*/ 1908579 h 4420427"/>
              <a:gd name="connsiteX448" fmla="*/ 1583846 w 4439724"/>
              <a:gd name="connsiteY448" fmla="*/ 1895720 h 4420427"/>
              <a:gd name="connsiteX449" fmla="*/ 1585989 w 4439724"/>
              <a:gd name="connsiteY449" fmla="*/ 1895720 h 4420427"/>
              <a:gd name="connsiteX450" fmla="*/ 1594562 w 4439724"/>
              <a:gd name="connsiteY450" fmla="*/ 1874288 h 4420427"/>
              <a:gd name="connsiteX451" fmla="*/ 1603134 w 4439724"/>
              <a:gd name="connsiteY451" fmla="*/ 1857142 h 4420427"/>
              <a:gd name="connsiteX452" fmla="*/ 1605278 w 4439724"/>
              <a:gd name="connsiteY452" fmla="*/ 1852855 h 4420427"/>
              <a:gd name="connsiteX453" fmla="*/ 1615994 w 4439724"/>
              <a:gd name="connsiteY453" fmla="*/ 1835710 h 4420427"/>
              <a:gd name="connsiteX454" fmla="*/ 1626710 w 4439724"/>
              <a:gd name="connsiteY454" fmla="*/ 1820707 h 4420427"/>
              <a:gd name="connsiteX455" fmla="*/ 1648142 w 4439724"/>
              <a:gd name="connsiteY455" fmla="*/ 1792845 h 4420427"/>
              <a:gd name="connsiteX456" fmla="*/ 1667431 w 4439724"/>
              <a:gd name="connsiteY456" fmla="*/ 1767127 h 4420427"/>
              <a:gd name="connsiteX457" fmla="*/ 1691006 w 4439724"/>
              <a:gd name="connsiteY457" fmla="*/ 1741408 h 4420427"/>
              <a:gd name="connsiteX458" fmla="*/ 1708152 w 4439724"/>
              <a:gd name="connsiteY458" fmla="*/ 1719976 h 4420427"/>
              <a:gd name="connsiteX459" fmla="*/ 1738157 w 4439724"/>
              <a:gd name="connsiteY459" fmla="*/ 1694258 h 4420427"/>
              <a:gd name="connsiteX460" fmla="*/ 1768162 w 4439724"/>
              <a:gd name="connsiteY460" fmla="*/ 1668539 h 4420427"/>
              <a:gd name="connsiteX461" fmla="*/ 1800310 w 4439724"/>
              <a:gd name="connsiteY461" fmla="*/ 1642820 h 4420427"/>
              <a:gd name="connsiteX462" fmla="*/ 1832459 w 4439724"/>
              <a:gd name="connsiteY462" fmla="*/ 1621388 h 4420427"/>
              <a:gd name="connsiteX463" fmla="*/ 1875323 w 4439724"/>
              <a:gd name="connsiteY463" fmla="*/ 1595670 h 4420427"/>
              <a:gd name="connsiteX464" fmla="*/ 1918187 w 4439724"/>
              <a:gd name="connsiteY464" fmla="*/ 1576381 h 4420427"/>
              <a:gd name="connsiteX465" fmla="*/ 1965338 w 4439724"/>
              <a:gd name="connsiteY465" fmla="*/ 1557092 h 4420427"/>
              <a:gd name="connsiteX466" fmla="*/ 2012489 w 4439724"/>
              <a:gd name="connsiteY466" fmla="*/ 1539946 h 4420427"/>
              <a:gd name="connsiteX467" fmla="*/ 2061783 w 4439724"/>
              <a:gd name="connsiteY467" fmla="*/ 1529230 h 4420427"/>
              <a:gd name="connsiteX468" fmla="*/ 2111077 w 4439724"/>
              <a:gd name="connsiteY468" fmla="*/ 1518514 h 4420427"/>
              <a:gd name="connsiteX469" fmla="*/ 2160370 w 4439724"/>
              <a:gd name="connsiteY469" fmla="*/ 1514227 h 4420427"/>
              <a:gd name="connsiteX470" fmla="*/ 3704586 w 4439724"/>
              <a:gd name="connsiteY470" fmla="*/ 1499215 h 4420427"/>
              <a:gd name="connsiteX471" fmla="*/ 3704586 w 4439724"/>
              <a:gd name="connsiteY471" fmla="*/ 1501363 h 4420427"/>
              <a:gd name="connsiteX472" fmla="*/ 3738877 w 4439724"/>
              <a:gd name="connsiteY472" fmla="*/ 1501363 h 4420427"/>
              <a:gd name="connsiteX473" fmla="*/ 3775312 w 4439724"/>
              <a:gd name="connsiteY473" fmla="*/ 1503511 h 4420427"/>
              <a:gd name="connsiteX474" fmla="*/ 3809603 w 4439724"/>
              <a:gd name="connsiteY474" fmla="*/ 1507807 h 4420427"/>
              <a:gd name="connsiteX475" fmla="*/ 3843895 w 4439724"/>
              <a:gd name="connsiteY475" fmla="*/ 1512103 h 4420427"/>
              <a:gd name="connsiteX476" fmla="*/ 3876043 w 4439724"/>
              <a:gd name="connsiteY476" fmla="*/ 1522843 h 4420427"/>
              <a:gd name="connsiteX477" fmla="*/ 3912478 w 4439724"/>
              <a:gd name="connsiteY477" fmla="*/ 1531435 h 4420427"/>
              <a:gd name="connsiteX478" fmla="*/ 3944626 w 4439724"/>
              <a:gd name="connsiteY478" fmla="*/ 1540026 h 4420427"/>
              <a:gd name="connsiteX479" fmla="*/ 3974631 w 4439724"/>
              <a:gd name="connsiteY479" fmla="*/ 1552914 h 4420427"/>
              <a:gd name="connsiteX480" fmla="*/ 3996063 w 4439724"/>
              <a:gd name="connsiteY480" fmla="*/ 1561506 h 4420427"/>
              <a:gd name="connsiteX481" fmla="*/ 4017495 w 4439724"/>
              <a:gd name="connsiteY481" fmla="*/ 1574394 h 4420427"/>
              <a:gd name="connsiteX482" fmla="*/ 4043214 w 4439724"/>
              <a:gd name="connsiteY482" fmla="*/ 1585134 h 4420427"/>
              <a:gd name="connsiteX483" fmla="*/ 4068932 w 4439724"/>
              <a:gd name="connsiteY483" fmla="*/ 1600169 h 4420427"/>
              <a:gd name="connsiteX484" fmla="*/ 4094651 w 4439724"/>
              <a:gd name="connsiteY484" fmla="*/ 1615205 h 4420427"/>
              <a:gd name="connsiteX485" fmla="*/ 4118226 w 4439724"/>
              <a:gd name="connsiteY485" fmla="*/ 1632389 h 4420427"/>
              <a:gd name="connsiteX486" fmla="*/ 4139659 w 4439724"/>
              <a:gd name="connsiteY486" fmla="*/ 1651720 h 4420427"/>
              <a:gd name="connsiteX487" fmla="*/ 4163234 w 4439724"/>
              <a:gd name="connsiteY487" fmla="*/ 1666756 h 4420427"/>
              <a:gd name="connsiteX488" fmla="*/ 4184666 w 4439724"/>
              <a:gd name="connsiteY488" fmla="*/ 1688236 h 4420427"/>
              <a:gd name="connsiteX489" fmla="*/ 4206098 w 4439724"/>
              <a:gd name="connsiteY489" fmla="*/ 1709715 h 4420427"/>
              <a:gd name="connsiteX490" fmla="*/ 4231817 w 4439724"/>
              <a:gd name="connsiteY490" fmla="*/ 1735491 h 4420427"/>
              <a:gd name="connsiteX491" fmla="*/ 4253249 w 4439724"/>
              <a:gd name="connsiteY491" fmla="*/ 1761266 h 4420427"/>
              <a:gd name="connsiteX492" fmla="*/ 4272538 w 4439724"/>
              <a:gd name="connsiteY492" fmla="*/ 1787042 h 4420427"/>
              <a:gd name="connsiteX493" fmla="*/ 4291827 w 4439724"/>
              <a:gd name="connsiteY493" fmla="*/ 1812817 h 4420427"/>
              <a:gd name="connsiteX494" fmla="*/ 4313259 w 4439724"/>
              <a:gd name="connsiteY494" fmla="*/ 1845037 h 4420427"/>
              <a:gd name="connsiteX495" fmla="*/ 4332548 w 4439724"/>
              <a:gd name="connsiteY495" fmla="*/ 1877256 h 4420427"/>
              <a:gd name="connsiteX496" fmla="*/ 4347550 w 4439724"/>
              <a:gd name="connsiteY496" fmla="*/ 1911623 h 4420427"/>
              <a:gd name="connsiteX497" fmla="*/ 4364696 w 4439724"/>
              <a:gd name="connsiteY497" fmla="*/ 1948139 h 4420427"/>
              <a:gd name="connsiteX498" fmla="*/ 4375412 w 4439724"/>
              <a:gd name="connsiteY498" fmla="*/ 1982506 h 4420427"/>
              <a:gd name="connsiteX499" fmla="*/ 4388272 w 4439724"/>
              <a:gd name="connsiteY499" fmla="*/ 2016873 h 4420427"/>
              <a:gd name="connsiteX500" fmla="*/ 4396844 w 4439724"/>
              <a:gd name="connsiteY500" fmla="*/ 2055537 h 4420427"/>
              <a:gd name="connsiteX501" fmla="*/ 4403274 w 4439724"/>
              <a:gd name="connsiteY501" fmla="*/ 2089904 h 4420427"/>
              <a:gd name="connsiteX502" fmla="*/ 4411847 w 4439724"/>
              <a:gd name="connsiteY502" fmla="*/ 2132863 h 4420427"/>
              <a:gd name="connsiteX503" fmla="*/ 4413990 w 4439724"/>
              <a:gd name="connsiteY503" fmla="*/ 2173674 h 4420427"/>
              <a:gd name="connsiteX504" fmla="*/ 4413990 w 4439724"/>
              <a:gd name="connsiteY504" fmla="*/ 2214485 h 4420427"/>
              <a:gd name="connsiteX505" fmla="*/ 4413990 w 4439724"/>
              <a:gd name="connsiteY505" fmla="*/ 2255297 h 4420427"/>
              <a:gd name="connsiteX506" fmla="*/ 4409704 w 4439724"/>
              <a:gd name="connsiteY506" fmla="*/ 2298256 h 4420427"/>
              <a:gd name="connsiteX507" fmla="*/ 4403274 w 4439724"/>
              <a:gd name="connsiteY507" fmla="*/ 2339067 h 4420427"/>
              <a:gd name="connsiteX508" fmla="*/ 4394701 w 4439724"/>
              <a:gd name="connsiteY508" fmla="*/ 2379878 h 4420427"/>
              <a:gd name="connsiteX509" fmla="*/ 4383985 w 4439724"/>
              <a:gd name="connsiteY509" fmla="*/ 2420690 h 4420427"/>
              <a:gd name="connsiteX510" fmla="*/ 4368983 w 4439724"/>
              <a:gd name="connsiteY510" fmla="*/ 2461501 h 4420427"/>
              <a:gd name="connsiteX511" fmla="*/ 4351837 w 4439724"/>
              <a:gd name="connsiteY511" fmla="*/ 2500164 h 4420427"/>
              <a:gd name="connsiteX512" fmla="*/ 4334691 w 4439724"/>
              <a:gd name="connsiteY512" fmla="*/ 2538827 h 4420427"/>
              <a:gd name="connsiteX513" fmla="*/ 4315402 w 4439724"/>
              <a:gd name="connsiteY513" fmla="*/ 2575343 h 4420427"/>
              <a:gd name="connsiteX514" fmla="*/ 4291827 w 4439724"/>
              <a:gd name="connsiteY514" fmla="*/ 2614006 h 4420427"/>
              <a:gd name="connsiteX515" fmla="*/ 4266108 w 4439724"/>
              <a:gd name="connsiteY515" fmla="*/ 2648373 h 4420427"/>
              <a:gd name="connsiteX516" fmla="*/ 4236103 w 4439724"/>
              <a:gd name="connsiteY516" fmla="*/ 2682740 h 4420427"/>
              <a:gd name="connsiteX517" fmla="*/ 4206098 w 4439724"/>
              <a:gd name="connsiteY517" fmla="*/ 2717108 h 4420427"/>
              <a:gd name="connsiteX518" fmla="*/ 4206098 w 4439724"/>
              <a:gd name="connsiteY518" fmla="*/ 2712812 h 4420427"/>
              <a:gd name="connsiteX519" fmla="*/ 4184666 w 4439724"/>
              <a:gd name="connsiteY519" fmla="*/ 2736439 h 4420427"/>
              <a:gd name="connsiteX520" fmla="*/ 4158948 w 4439724"/>
              <a:gd name="connsiteY520" fmla="*/ 2757919 h 4420427"/>
              <a:gd name="connsiteX521" fmla="*/ 4133229 w 4439724"/>
              <a:gd name="connsiteY521" fmla="*/ 2777251 h 4420427"/>
              <a:gd name="connsiteX522" fmla="*/ 4105367 w 4439724"/>
              <a:gd name="connsiteY522" fmla="*/ 2798730 h 4420427"/>
              <a:gd name="connsiteX523" fmla="*/ 4090365 w 4439724"/>
              <a:gd name="connsiteY523" fmla="*/ 2807322 h 4420427"/>
              <a:gd name="connsiteX524" fmla="*/ 4075362 w 4439724"/>
              <a:gd name="connsiteY524" fmla="*/ 2815914 h 4420427"/>
              <a:gd name="connsiteX525" fmla="*/ 4073219 w 4439724"/>
              <a:gd name="connsiteY525" fmla="*/ 2815914 h 4420427"/>
              <a:gd name="connsiteX526" fmla="*/ 4068932 w 4439724"/>
              <a:gd name="connsiteY526" fmla="*/ 2818062 h 4420427"/>
              <a:gd name="connsiteX527" fmla="*/ 4068932 w 4439724"/>
              <a:gd name="connsiteY527" fmla="*/ 2822358 h 4420427"/>
              <a:gd name="connsiteX528" fmla="*/ 4060360 w 4439724"/>
              <a:gd name="connsiteY528" fmla="*/ 2824506 h 4420427"/>
              <a:gd name="connsiteX529" fmla="*/ 4058216 w 4439724"/>
              <a:gd name="connsiteY529" fmla="*/ 2826654 h 4420427"/>
              <a:gd name="connsiteX530" fmla="*/ 4049644 w 4439724"/>
              <a:gd name="connsiteY530" fmla="*/ 2830950 h 4420427"/>
              <a:gd name="connsiteX531" fmla="*/ 4023925 w 4439724"/>
              <a:gd name="connsiteY531" fmla="*/ 2843837 h 4420427"/>
              <a:gd name="connsiteX532" fmla="*/ 3996063 w 4439724"/>
              <a:gd name="connsiteY532" fmla="*/ 2858873 h 4420427"/>
              <a:gd name="connsiteX533" fmla="*/ 3993920 w 4439724"/>
              <a:gd name="connsiteY533" fmla="*/ 2858873 h 4420427"/>
              <a:gd name="connsiteX534" fmla="*/ 3976774 w 4439724"/>
              <a:gd name="connsiteY534" fmla="*/ 2867465 h 4420427"/>
              <a:gd name="connsiteX535" fmla="*/ 3961772 w 4439724"/>
              <a:gd name="connsiteY535" fmla="*/ 2871761 h 4420427"/>
              <a:gd name="connsiteX536" fmla="*/ 3951056 w 4439724"/>
              <a:gd name="connsiteY536" fmla="*/ 2878205 h 4420427"/>
              <a:gd name="connsiteX537" fmla="*/ 3929623 w 4439724"/>
              <a:gd name="connsiteY537" fmla="*/ 2884649 h 4420427"/>
              <a:gd name="connsiteX538" fmla="*/ 3910335 w 4439724"/>
              <a:gd name="connsiteY538" fmla="*/ 2891092 h 4420427"/>
              <a:gd name="connsiteX539" fmla="*/ 3888902 w 4439724"/>
              <a:gd name="connsiteY539" fmla="*/ 2895388 h 4420427"/>
              <a:gd name="connsiteX540" fmla="*/ 3865327 w 4439724"/>
              <a:gd name="connsiteY540" fmla="*/ 2903980 h 4420427"/>
              <a:gd name="connsiteX541" fmla="*/ 3861041 w 4439724"/>
              <a:gd name="connsiteY541" fmla="*/ 2903980 h 4420427"/>
              <a:gd name="connsiteX542" fmla="*/ 3858897 w 4439724"/>
              <a:gd name="connsiteY542" fmla="*/ 2906128 h 4420427"/>
              <a:gd name="connsiteX543" fmla="*/ 3856754 w 4439724"/>
              <a:gd name="connsiteY543" fmla="*/ 2906128 h 4420427"/>
              <a:gd name="connsiteX544" fmla="*/ 3850325 w 4439724"/>
              <a:gd name="connsiteY544" fmla="*/ 2908276 h 4420427"/>
              <a:gd name="connsiteX545" fmla="*/ 3843895 w 4439724"/>
              <a:gd name="connsiteY545" fmla="*/ 2908276 h 4420427"/>
              <a:gd name="connsiteX546" fmla="*/ 3831036 w 4439724"/>
              <a:gd name="connsiteY546" fmla="*/ 2912572 h 4420427"/>
              <a:gd name="connsiteX547" fmla="*/ 3818176 w 4439724"/>
              <a:gd name="connsiteY547" fmla="*/ 2912572 h 4420427"/>
              <a:gd name="connsiteX548" fmla="*/ 3696013 w 4439724"/>
              <a:gd name="connsiteY548" fmla="*/ 2921164 h 4420427"/>
              <a:gd name="connsiteX549" fmla="*/ 3687440 w 4439724"/>
              <a:gd name="connsiteY549" fmla="*/ 2921164 h 4420427"/>
              <a:gd name="connsiteX550" fmla="*/ 3676724 w 4439724"/>
              <a:gd name="connsiteY550" fmla="*/ 2921164 h 4420427"/>
              <a:gd name="connsiteX551" fmla="*/ 3659578 w 4439724"/>
              <a:gd name="connsiteY551" fmla="*/ 2919016 h 4420427"/>
              <a:gd name="connsiteX552" fmla="*/ 3644576 w 4439724"/>
              <a:gd name="connsiteY552" fmla="*/ 2919016 h 4420427"/>
              <a:gd name="connsiteX553" fmla="*/ 3633860 w 4439724"/>
              <a:gd name="connsiteY553" fmla="*/ 2916868 h 4420427"/>
              <a:gd name="connsiteX554" fmla="*/ 3616714 w 4439724"/>
              <a:gd name="connsiteY554" fmla="*/ 2914720 h 4420427"/>
              <a:gd name="connsiteX555" fmla="*/ 3608141 w 4439724"/>
              <a:gd name="connsiteY555" fmla="*/ 2914720 h 4420427"/>
              <a:gd name="connsiteX556" fmla="*/ 3605998 w 4439724"/>
              <a:gd name="connsiteY556" fmla="*/ 2914720 h 4420427"/>
              <a:gd name="connsiteX557" fmla="*/ 3603855 w 4439724"/>
              <a:gd name="connsiteY557" fmla="*/ 2914720 h 4420427"/>
              <a:gd name="connsiteX558" fmla="*/ 3601712 w 4439724"/>
              <a:gd name="connsiteY558" fmla="*/ 2914720 h 4420427"/>
              <a:gd name="connsiteX559" fmla="*/ 3595282 w 4439724"/>
              <a:gd name="connsiteY559" fmla="*/ 2914720 h 4420427"/>
              <a:gd name="connsiteX560" fmla="*/ 3590996 w 4439724"/>
              <a:gd name="connsiteY560" fmla="*/ 2912572 h 4420427"/>
              <a:gd name="connsiteX561" fmla="*/ 3584566 w 4439724"/>
              <a:gd name="connsiteY561" fmla="*/ 2912572 h 4420427"/>
              <a:gd name="connsiteX562" fmla="*/ 3582423 w 4439724"/>
              <a:gd name="connsiteY562" fmla="*/ 2912572 h 4420427"/>
              <a:gd name="connsiteX563" fmla="*/ 3580279 w 4439724"/>
              <a:gd name="connsiteY563" fmla="*/ 2912572 h 4420427"/>
              <a:gd name="connsiteX564" fmla="*/ 3578136 w 4439724"/>
              <a:gd name="connsiteY564" fmla="*/ 2912572 h 4420427"/>
              <a:gd name="connsiteX565" fmla="*/ 3575993 w 4439724"/>
              <a:gd name="connsiteY565" fmla="*/ 2912572 h 4420427"/>
              <a:gd name="connsiteX566" fmla="*/ 3569563 w 4439724"/>
              <a:gd name="connsiteY566" fmla="*/ 2912572 h 4420427"/>
              <a:gd name="connsiteX567" fmla="*/ 3537415 w 4439724"/>
              <a:gd name="connsiteY567" fmla="*/ 2912572 h 4420427"/>
              <a:gd name="connsiteX568" fmla="*/ 3503124 w 4439724"/>
              <a:gd name="connsiteY568" fmla="*/ 2914720 h 4420427"/>
              <a:gd name="connsiteX569" fmla="*/ 3473119 w 4439724"/>
              <a:gd name="connsiteY569" fmla="*/ 2919016 h 4420427"/>
              <a:gd name="connsiteX570" fmla="*/ 3443114 w 4439724"/>
              <a:gd name="connsiteY570" fmla="*/ 2925460 h 4420427"/>
              <a:gd name="connsiteX571" fmla="*/ 3410965 w 4439724"/>
              <a:gd name="connsiteY571" fmla="*/ 2934052 h 4420427"/>
              <a:gd name="connsiteX572" fmla="*/ 3380960 w 4439724"/>
              <a:gd name="connsiteY572" fmla="*/ 2942643 h 4420427"/>
              <a:gd name="connsiteX573" fmla="*/ 3348812 w 4439724"/>
              <a:gd name="connsiteY573" fmla="*/ 2951235 h 4420427"/>
              <a:gd name="connsiteX574" fmla="*/ 3318807 w 4439724"/>
              <a:gd name="connsiteY574" fmla="*/ 2966271 h 4420427"/>
              <a:gd name="connsiteX575" fmla="*/ 3301662 w 4439724"/>
              <a:gd name="connsiteY575" fmla="*/ 2972715 h 4420427"/>
              <a:gd name="connsiteX576" fmla="*/ 3280229 w 4439724"/>
              <a:gd name="connsiteY576" fmla="*/ 2983455 h 4420427"/>
              <a:gd name="connsiteX577" fmla="*/ 3233079 w 4439724"/>
              <a:gd name="connsiteY577" fmla="*/ 3011378 h 4420427"/>
              <a:gd name="connsiteX578" fmla="*/ 3185928 w 4439724"/>
              <a:gd name="connsiteY578" fmla="*/ 3041450 h 4420427"/>
              <a:gd name="connsiteX579" fmla="*/ 3145207 w 4439724"/>
              <a:gd name="connsiteY579" fmla="*/ 3075817 h 4420427"/>
              <a:gd name="connsiteX580" fmla="*/ 3102342 w 4439724"/>
              <a:gd name="connsiteY580" fmla="*/ 3112332 h 4420427"/>
              <a:gd name="connsiteX581" fmla="*/ 3102342 w 4439724"/>
              <a:gd name="connsiteY581" fmla="*/ 3116628 h 4420427"/>
              <a:gd name="connsiteX582" fmla="*/ 3076624 w 4439724"/>
              <a:gd name="connsiteY582" fmla="*/ 3144552 h 4420427"/>
              <a:gd name="connsiteX583" fmla="*/ 3053049 w 4439724"/>
              <a:gd name="connsiteY583" fmla="*/ 3172475 h 4420427"/>
              <a:gd name="connsiteX584" fmla="*/ 3029473 w 4439724"/>
              <a:gd name="connsiteY584" fmla="*/ 3202546 h 4420427"/>
              <a:gd name="connsiteX585" fmla="*/ 3012327 w 4439724"/>
              <a:gd name="connsiteY585" fmla="*/ 3232618 h 4420427"/>
              <a:gd name="connsiteX586" fmla="*/ 2988752 w 4439724"/>
              <a:gd name="connsiteY586" fmla="*/ 3271281 h 4420427"/>
              <a:gd name="connsiteX587" fmla="*/ 2969463 w 4439724"/>
              <a:gd name="connsiteY587" fmla="*/ 3314240 h 4420427"/>
              <a:gd name="connsiteX588" fmla="*/ 2950174 w 4439724"/>
              <a:gd name="connsiteY588" fmla="*/ 3357199 h 4420427"/>
              <a:gd name="connsiteX589" fmla="*/ 2937315 w 4439724"/>
              <a:gd name="connsiteY589" fmla="*/ 3400159 h 4420427"/>
              <a:gd name="connsiteX590" fmla="*/ 2926598 w 4439724"/>
              <a:gd name="connsiteY590" fmla="*/ 3445266 h 4420427"/>
              <a:gd name="connsiteX591" fmla="*/ 2920169 w 4439724"/>
              <a:gd name="connsiteY591" fmla="*/ 3490373 h 4420427"/>
              <a:gd name="connsiteX592" fmla="*/ 2915882 w 4439724"/>
              <a:gd name="connsiteY592" fmla="*/ 3533332 h 4420427"/>
              <a:gd name="connsiteX593" fmla="*/ 2915882 w 4439724"/>
              <a:gd name="connsiteY593" fmla="*/ 3580587 h 4420427"/>
              <a:gd name="connsiteX594" fmla="*/ 2918026 w 4439724"/>
              <a:gd name="connsiteY594" fmla="*/ 3595623 h 4420427"/>
              <a:gd name="connsiteX595" fmla="*/ 2918026 w 4439724"/>
              <a:gd name="connsiteY595" fmla="*/ 3606363 h 4420427"/>
              <a:gd name="connsiteX596" fmla="*/ 2918026 w 4439724"/>
              <a:gd name="connsiteY596" fmla="*/ 3608511 h 4420427"/>
              <a:gd name="connsiteX597" fmla="*/ 2918026 w 4439724"/>
              <a:gd name="connsiteY597" fmla="*/ 3617102 h 4420427"/>
              <a:gd name="connsiteX598" fmla="*/ 2918026 w 4439724"/>
              <a:gd name="connsiteY598" fmla="*/ 3621398 h 4420427"/>
              <a:gd name="connsiteX599" fmla="*/ 2920169 w 4439724"/>
              <a:gd name="connsiteY599" fmla="*/ 3623546 h 4420427"/>
              <a:gd name="connsiteX600" fmla="*/ 2920169 w 4439724"/>
              <a:gd name="connsiteY600" fmla="*/ 3629990 h 4420427"/>
              <a:gd name="connsiteX601" fmla="*/ 2920169 w 4439724"/>
              <a:gd name="connsiteY601" fmla="*/ 3638582 h 4420427"/>
              <a:gd name="connsiteX602" fmla="*/ 2920169 w 4439724"/>
              <a:gd name="connsiteY602" fmla="*/ 3640730 h 4420427"/>
              <a:gd name="connsiteX603" fmla="*/ 2922312 w 4439724"/>
              <a:gd name="connsiteY603" fmla="*/ 3645026 h 4420427"/>
              <a:gd name="connsiteX604" fmla="*/ 2922312 w 4439724"/>
              <a:gd name="connsiteY604" fmla="*/ 3660062 h 4420427"/>
              <a:gd name="connsiteX605" fmla="*/ 2924455 w 4439724"/>
              <a:gd name="connsiteY605" fmla="*/ 3683689 h 4420427"/>
              <a:gd name="connsiteX606" fmla="*/ 2924455 w 4439724"/>
              <a:gd name="connsiteY606" fmla="*/ 3694429 h 4420427"/>
              <a:gd name="connsiteX607" fmla="*/ 2924455 w 4439724"/>
              <a:gd name="connsiteY607" fmla="*/ 3696577 h 4420427"/>
              <a:gd name="connsiteX608" fmla="*/ 2915882 w 4439724"/>
              <a:gd name="connsiteY608" fmla="*/ 3819011 h 4420427"/>
              <a:gd name="connsiteX609" fmla="*/ 2915882 w 4439724"/>
              <a:gd name="connsiteY609" fmla="*/ 3827602 h 4420427"/>
              <a:gd name="connsiteX610" fmla="*/ 2913739 w 4439724"/>
              <a:gd name="connsiteY610" fmla="*/ 3840490 h 4420427"/>
              <a:gd name="connsiteX611" fmla="*/ 2911596 w 4439724"/>
              <a:gd name="connsiteY611" fmla="*/ 3840490 h 4420427"/>
              <a:gd name="connsiteX612" fmla="*/ 2909453 w 4439724"/>
              <a:gd name="connsiteY612" fmla="*/ 3853378 h 4420427"/>
              <a:gd name="connsiteX613" fmla="*/ 2907310 w 4439724"/>
              <a:gd name="connsiteY613" fmla="*/ 3857674 h 4420427"/>
              <a:gd name="connsiteX614" fmla="*/ 2907310 w 4439724"/>
              <a:gd name="connsiteY614" fmla="*/ 3861970 h 4420427"/>
              <a:gd name="connsiteX615" fmla="*/ 2905166 w 4439724"/>
              <a:gd name="connsiteY615" fmla="*/ 3870562 h 4420427"/>
              <a:gd name="connsiteX616" fmla="*/ 2898737 w 4439724"/>
              <a:gd name="connsiteY616" fmla="*/ 3889893 h 4420427"/>
              <a:gd name="connsiteX617" fmla="*/ 2894450 w 4439724"/>
              <a:gd name="connsiteY617" fmla="*/ 3907077 h 4420427"/>
              <a:gd name="connsiteX618" fmla="*/ 2888021 w 4439724"/>
              <a:gd name="connsiteY618" fmla="*/ 3932852 h 4420427"/>
              <a:gd name="connsiteX619" fmla="*/ 2881591 w 4439724"/>
              <a:gd name="connsiteY619" fmla="*/ 3950036 h 4420427"/>
              <a:gd name="connsiteX620" fmla="*/ 2881591 w 4439724"/>
              <a:gd name="connsiteY620" fmla="*/ 3952184 h 4420427"/>
              <a:gd name="connsiteX621" fmla="*/ 2870875 w 4439724"/>
              <a:gd name="connsiteY621" fmla="*/ 3971516 h 4420427"/>
              <a:gd name="connsiteX622" fmla="*/ 2864445 w 4439724"/>
              <a:gd name="connsiteY622" fmla="*/ 3988699 h 4420427"/>
              <a:gd name="connsiteX623" fmla="*/ 2862302 w 4439724"/>
              <a:gd name="connsiteY623" fmla="*/ 3995143 h 4420427"/>
              <a:gd name="connsiteX624" fmla="*/ 2853729 w 4439724"/>
              <a:gd name="connsiteY624" fmla="*/ 4014475 h 4420427"/>
              <a:gd name="connsiteX625" fmla="*/ 2843013 w 4439724"/>
              <a:gd name="connsiteY625" fmla="*/ 4031658 h 4420427"/>
              <a:gd name="connsiteX626" fmla="*/ 2832297 w 4439724"/>
              <a:gd name="connsiteY626" fmla="*/ 4053138 h 4420427"/>
              <a:gd name="connsiteX627" fmla="*/ 2821581 w 4439724"/>
              <a:gd name="connsiteY627" fmla="*/ 4068174 h 4420427"/>
              <a:gd name="connsiteX628" fmla="*/ 2819438 w 4439724"/>
              <a:gd name="connsiteY628" fmla="*/ 4070322 h 4420427"/>
              <a:gd name="connsiteX629" fmla="*/ 2813008 w 4439724"/>
              <a:gd name="connsiteY629" fmla="*/ 4085357 h 4420427"/>
              <a:gd name="connsiteX630" fmla="*/ 2802292 w 4439724"/>
              <a:gd name="connsiteY630" fmla="*/ 4104689 h 4420427"/>
              <a:gd name="connsiteX631" fmla="*/ 2800149 w 4439724"/>
              <a:gd name="connsiteY631" fmla="*/ 4104689 h 4420427"/>
              <a:gd name="connsiteX632" fmla="*/ 2780860 w 4439724"/>
              <a:gd name="connsiteY632" fmla="*/ 4132613 h 4420427"/>
              <a:gd name="connsiteX633" fmla="*/ 2759428 w 4439724"/>
              <a:gd name="connsiteY633" fmla="*/ 4158388 h 4420427"/>
              <a:gd name="connsiteX634" fmla="*/ 2737996 w 4439724"/>
              <a:gd name="connsiteY634" fmla="*/ 4184164 h 4420427"/>
              <a:gd name="connsiteX635" fmla="*/ 2718707 w 4439724"/>
              <a:gd name="connsiteY635" fmla="*/ 4203495 h 4420427"/>
              <a:gd name="connsiteX636" fmla="*/ 2718707 w 4439724"/>
              <a:gd name="connsiteY636" fmla="*/ 4207791 h 4420427"/>
              <a:gd name="connsiteX637" fmla="*/ 2688702 w 4439724"/>
              <a:gd name="connsiteY637" fmla="*/ 4233567 h 4420427"/>
              <a:gd name="connsiteX638" fmla="*/ 2658697 w 4439724"/>
              <a:gd name="connsiteY638" fmla="*/ 4257194 h 4420427"/>
              <a:gd name="connsiteX639" fmla="*/ 2626548 w 4439724"/>
              <a:gd name="connsiteY639" fmla="*/ 4280822 h 4420427"/>
              <a:gd name="connsiteX640" fmla="*/ 2596543 w 4439724"/>
              <a:gd name="connsiteY640" fmla="*/ 4304449 h 4420427"/>
              <a:gd name="connsiteX641" fmla="*/ 2553679 w 4439724"/>
              <a:gd name="connsiteY641" fmla="*/ 4328077 h 4420427"/>
              <a:gd name="connsiteX642" fmla="*/ 2512958 w 4439724"/>
              <a:gd name="connsiteY642" fmla="*/ 4349556 h 4420427"/>
              <a:gd name="connsiteX643" fmla="*/ 2467950 w 4439724"/>
              <a:gd name="connsiteY643" fmla="*/ 4368888 h 4420427"/>
              <a:gd name="connsiteX644" fmla="*/ 2422943 w 4439724"/>
              <a:gd name="connsiteY644" fmla="*/ 4383924 h 4420427"/>
              <a:gd name="connsiteX645" fmla="*/ 2377935 w 4439724"/>
              <a:gd name="connsiteY645" fmla="*/ 4396811 h 4420427"/>
              <a:gd name="connsiteX646" fmla="*/ 2330785 w 4439724"/>
              <a:gd name="connsiteY646" fmla="*/ 4405403 h 4420427"/>
              <a:gd name="connsiteX647" fmla="*/ 2283634 w 4439724"/>
              <a:gd name="connsiteY647" fmla="*/ 4409699 h 4420427"/>
              <a:gd name="connsiteX648" fmla="*/ 2234340 w 4439724"/>
              <a:gd name="connsiteY648" fmla="*/ 4413995 h 4420427"/>
              <a:gd name="connsiteX649" fmla="*/ 2225767 w 4439724"/>
              <a:gd name="connsiteY649" fmla="*/ 4413995 h 4420427"/>
              <a:gd name="connsiteX650" fmla="*/ 2215051 w 4439724"/>
              <a:gd name="connsiteY650" fmla="*/ 4413995 h 4420427"/>
              <a:gd name="connsiteX651" fmla="*/ 2215051 w 4439724"/>
              <a:gd name="connsiteY651" fmla="*/ 4411847 h 4420427"/>
              <a:gd name="connsiteX652" fmla="*/ 2180760 w 4439724"/>
              <a:gd name="connsiteY652" fmla="*/ 4411847 h 4420427"/>
              <a:gd name="connsiteX653" fmla="*/ 2146468 w 4439724"/>
              <a:gd name="connsiteY653" fmla="*/ 4409699 h 4420427"/>
              <a:gd name="connsiteX654" fmla="*/ 2112177 w 4439724"/>
              <a:gd name="connsiteY654" fmla="*/ 4405403 h 4420427"/>
              <a:gd name="connsiteX655" fmla="*/ 2075742 w 4439724"/>
              <a:gd name="connsiteY655" fmla="*/ 4401107 h 4420427"/>
              <a:gd name="connsiteX656" fmla="*/ 2043594 w 4439724"/>
              <a:gd name="connsiteY656" fmla="*/ 4390368 h 4420427"/>
              <a:gd name="connsiteX657" fmla="*/ 2009302 w 4439724"/>
              <a:gd name="connsiteY657" fmla="*/ 4381776 h 4420427"/>
              <a:gd name="connsiteX658" fmla="*/ 1975011 w 4439724"/>
              <a:gd name="connsiteY658" fmla="*/ 4373184 h 4420427"/>
              <a:gd name="connsiteX659" fmla="*/ 1945006 w 4439724"/>
              <a:gd name="connsiteY659" fmla="*/ 4358148 h 4420427"/>
              <a:gd name="connsiteX660" fmla="*/ 1923574 w 4439724"/>
              <a:gd name="connsiteY660" fmla="*/ 4351704 h 4420427"/>
              <a:gd name="connsiteX661" fmla="*/ 1904285 w 4439724"/>
              <a:gd name="connsiteY661" fmla="*/ 4340965 h 4420427"/>
              <a:gd name="connsiteX662" fmla="*/ 1854991 w 4439724"/>
              <a:gd name="connsiteY662" fmla="*/ 4315189 h 4420427"/>
              <a:gd name="connsiteX663" fmla="*/ 1807840 w 4439724"/>
              <a:gd name="connsiteY663" fmla="*/ 4282970 h 4420427"/>
              <a:gd name="connsiteX664" fmla="*/ 1760689 w 4439724"/>
              <a:gd name="connsiteY664" fmla="*/ 4248602 h 4420427"/>
              <a:gd name="connsiteX665" fmla="*/ 1719968 w 4439724"/>
              <a:gd name="connsiteY665" fmla="*/ 4212087 h 4420427"/>
              <a:gd name="connsiteX666" fmla="*/ 1713539 w 4439724"/>
              <a:gd name="connsiteY666" fmla="*/ 4203495 h 4420427"/>
              <a:gd name="connsiteX667" fmla="*/ 1689963 w 4439724"/>
              <a:gd name="connsiteY667" fmla="*/ 4177720 h 4420427"/>
              <a:gd name="connsiteX668" fmla="*/ 1666388 w 4439724"/>
              <a:gd name="connsiteY668" fmla="*/ 4154092 h 4420427"/>
              <a:gd name="connsiteX669" fmla="*/ 1644956 w 4439724"/>
              <a:gd name="connsiteY669" fmla="*/ 4124021 h 4420427"/>
              <a:gd name="connsiteX670" fmla="*/ 1625667 w 4439724"/>
              <a:gd name="connsiteY670" fmla="*/ 4096097 h 4420427"/>
              <a:gd name="connsiteX671" fmla="*/ 1604235 w 4439724"/>
              <a:gd name="connsiteY671" fmla="*/ 4066026 h 4420427"/>
              <a:gd name="connsiteX672" fmla="*/ 1589232 w 4439724"/>
              <a:gd name="connsiteY672" fmla="*/ 4035954 h 4420427"/>
              <a:gd name="connsiteX673" fmla="*/ 1572087 w 4439724"/>
              <a:gd name="connsiteY673" fmla="*/ 4005883 h 4420427"/>
              <a:gd name="connsiteX674" fmla="*/ 1559227 w 4439724"/>
              <a:gd name="connsiteY674" fmla="*/ 3975812 h 4420427"/>
              <a:gd name="connsiteX675" fmla="*/ 1559227 w 4439724"/>
              <a:gd name="connsiteY675" fmla="*/ 3973664 h 4420427"/>
              <a:gd name="connsiteX676" fmla="*/ 1546368 w 4439724"/>
              <a:gd name="connsiteY676" fmla="*/ 3941444 h 4420427"/>
              <a:gd name="connsiteX677" fmla="*/ 1535652 w 4439724"/>
              <a:gd name="connsiteY677" fmla="*/ 3907077 h 4420427"/>
              <a:gd name="connsiteX678" fmla="*/ 1524936 w 4439724"/>
              <a:gd name="connsiteY678" fmla="*/ 3874857 h 4420427"/>
              <a:gd name="connsiteX679" fmla="*/ 1518506 w 4439724"/>
              <a:gd name="connsiteY679" fmla="*/ 3840490 h 4420427"/>
              <a:gd name="connsiteX680" fmla="*/ 1514220 w 4439724"/>
              <a:gd name="connsiteY680" fmla="*/ 3808271 h 4420427"/>
              <a:gd name="connsiteX681" fmla="*/ 1509933 w 4439724"/>
              <a:gd name="connsiteY681" fmla="*/ 3773903 h 4420427"/>
              <a:gd name="connsiteX682" fmla="*/ 1507790 w 4439724"/>
              <a:gd name="connsiteY682" fmla="*/ 3737388 h 4420427"/>
              <a:gd name="connsiteX683" fmla="*/ 1505647 w 4439724"/>
              <a:gd name="connsiteY683" fmla="*/ 3703021 h 4420427"/>
              <a:gd name="connsiteX684" fmla="*/ 1507790 w 4439724"/>
              <a:gd name="connsiteY684" fmla="*/ 3664358 h 4420427"/>
              <a:gd name="connsiteX685" fmla="*/ 1509933 w 4439724"/>
              <a:gd name="connsiteY685" fmla="*/ 3629990 h 4420427"/>
              <a:gd name="connsiteX686" fmla="*/ 1514220 w 4439724"/>
              <a:gd name="connsiteY686" fmla="*/ 3597771 h 4420427"/>
              <a:gd name="connsiteX687" fmla="*/ 1518506 w 4439724"/>
              <a:gd name="connsiteY687" fmla="*/ 3561256 h 4420427"/>
              <a:gd name="connsiteX688" fmla="*/ 1524936 w 4439724"/>
              <a:gd name="connsiteY688" fmla="*/ 3529036 h 4420427"/>
              <a:gd name="connsiteX689" fmla="*/ 1537795 w 4439724"/>
              <a:gd name="connsiteY689" fmla="*/ 3494669 h 4420427"/>
              <a:gd name="connsiteX690" fmla="*/ 1548511 w 4439724"/>
              <a:gd name="connsiteY690" fmla="*/ 3456006 h 4420427"/>
              <a:gd name="connsiteX691" fmla="*/ 1561370 w 4439724"/>
              <a:gd name="connsiteY691" fmla="*/ 3425934 h 4420427"/>
              <a:gd name="connsiteX692" fmla="*/ 1574230 w 4439724"/>
              <a:gd name="connsiteY692" fmla="*/ 3395863 h 4420427"/>
              <a:gd name="connsiteX693" fmla="*/ 1589232 w 4439724"/>
              <a:gd name="connsiteY693" fmla="*/ 3365791 h 4420427"/>
              <a:gd name="connsiteX694" fmla="*/ 1606378 w 4439724"/>
              <a:gd name="connsiteY694" fmla="*/ 3335720 h 4420427"/>
              <a:gd name="connsiteX695" fmla="*/ 1625667 w 4439724"/>
              <a:gd name="connsiteY695" fmla="*/ 3307796 h 4420427"/>
              <a:gd name="connsiteX696" fmla="*/ 1644956 w 4439724"/>
              <a:gd name="connsiteY696" fmla="*/ 3279873 h 4420427"/>
              <a:gd name="connsiteX697" fmla="*/ 1666388 w 4439724"/>
              <a:gd name="connsiteY697" fmla="*/ 3251950 h 4420427"/>
              <a:gd name="connsiteX698" fmla="*/ 1689963 w 4439724"/>
              <a:gd name="connsiteY698" fmla="*/ 3226174 h 4420427"/>
              <a:gd name="connsiteX699" fmla="*/ 1711396 w 4439724"/>
              <a:gd name="connsiteY699" fmla="*/ 3200399 h 4420427"/>
              <a:gd name="connsiteX700" fmla="*/ 1732828 w 4439724"/>
              <a:gd name="connsiteY700" fmla="*/ 3178919 h 4420427"/>
              <a:gd name="connsiteX701" fmla="*/ 1760689 w 4439724"/>
              <a:gd name="connsiteY701" fmla="*/ 3157439 h 4420427"/>
              <a:gd name="connsiteX702" fmla="*/ 1786408 w 4439724"/>
              <a:gd name="connsiteY702" fmla="*/ 3135960 h 4420427"/>
              <a:gd name="connsiteX703" fmla="*/ 1812127 w 4439724"/>
              <a:gd name="connsiteY703" fmla="*/ 3118776 h 4420427"/>
              <a:gd name="connsiteX704" fmla="*/ 1814270 w 4439724"/>
              <a:gd name="connsiteY704" fmla="*/ 3116628 h 4420427"/>
              <a:gd name="connsiteX705" fmla="*/ 1822843 w 4439724"/>
              <a:gd name="connsiteY705" fmla="*/ 3110184 h 4420427"/>
              <a:gd name="connsiteX706" fmla="*/ 1833559 w 4439724"/>
              <a:gd name="connsiteY706" fmla="*/ 3103740 h 4420427"/>
              <a:gd name="connsiteX707" fmla="*/ 1837845 w 4439724"/>
              <a:gd name="connsiteY707" fmla="*/ 3101592 h 4420427"/>
              <a:gd name="connsiteX708" fmla="*/ 1850705 w 4439724"/>
              <a:gd name="connsiteY708" fmla="*/ 3095149 h 4420427"/>
              <a:gd name="connsiteX709" fmla="*/ 1865707 w 4439724"/>
              <a:gd name="connsiteY709" fmla="*/ 3082261 h 4420427"/>
              <a:gd name="connsiteX710" fmla="*/ 1887139 w 4439724"/>
              <a:gd name="connsiteY710" fmla="*/ 3073669 h 4420427"/>
              <a:gd name="connsiteX711" fmla="*/ 1904285 w 4439724"/>
              <a:gd name="connsiteY711" fmla="*/ 3065077 h 4420427"/>
              <a:gd name="connsiteX712" fmla="*/ 1923574 w 4439724"/>
              <a:gd name="connsiteY712" fmla="*/ 3054337 h 4420427"/>
              <a:gd name="connsiteX713" fmla="*/ 1936433 w 4439724"/>
              <a:gd name="connsiteY713" fmla="*/ 3050041 h 4420427"/>
              <a:gd name="connsiteX714" fmla="*/ 1942863 w 4439724"/>
              <a:gd name="connsiteY714" fmla="*/ 3045745 h 4420427"/>
              <a:gd name="connsiteX715" fmla="*/ 1957865 w 4439724"/>
              <a:gd name="connsiteY715" fmla="*/ 3041450 h 4420427"/>
              <a:gd name="connsiteX716" fmla="*/ 1966438 w 4439724"/>
              <a:gd name="connsiteY716" fmla="*/ 3037154 h 4420427"/>
              <a:gd name="connsiteX717" fmla="*/ 1968581 w 4439724"/>
              <a:gd name="connsiteY717" fmla="*/ 3037154 h 4420427"/>
              <a:gd name="connsiteX718" fmla="*/ 1972868 w 4439724"/>
              <a:gd name="connsiteY718" fmla="*/ 3032858 h 4420427"/>
              <a:gd name="connsiteX719" fmla="*/ 1981441 w 4439724"/>
              <a:gd name="connsiteY719" fmla="*/ 3030710 h 4420427"/>
              <a:gd name="connsiteX720" fmla="*/ 1990013 w 4439724"/>
              <a:gd name="connsiteY720" fmla="*/ 3028562 h 4420427"/>
              <a:gd name="connsiteX721" fmla="*/ 1992157 w 4439724"/>
              <a:gd name="connsiteY721" fmla="*/ 3028562 h 4420427"/>
              <a:gd name="connsiteX722" fmla="*/ 2017875 w 4439724"/>
              <a:gd name="connsiteY722" fmla="*/ 3019970 h 4420427"/>
              <a:gd name="connsiteX723" fmla="*/ 2045737 w 4439724"/>
              <a:gd name="connsiteY723" fmla="*/ 3013526 h 4420427"/>
              <a:gd name="connsiteX724" fmla="*/ 2056453 w 4439724"/>
              <a:gd name="connsiteY724" fmla="*/ 3011378 h 4420427"/>
              <a:gd name="connsiteX725" fmla="*/ 2067169 w 4439724"/>
              <a:gd name="connsiteY725" fmla="*/ 3009230 h 4420427"/>
              <a:gd name="connsiteX726" fmla="*/ 2073599 w 4439724"/>
              <a:gd name="connsiteY726" fmla="*/ 3004934 h 4420427"/>
              <a:gd name="connsiteX727" fmla="*/ 2086458 w 4439724"/>
              <a:gd name="connsiteY727" fmla="*/ 3000638 h 4420427"/>
              <a:gd name="connsiteX728" fmla="*/ 2099317 w 4439724"/>
              <a:gd name="connsiteY728" fmla="*/ 3000638 h 4420427"/>
              <a:gd name="connsiteX729" fmla="*/ 2225767 w 4439724"/>
              <a:gd name="connsiteY729" fmla="*/ 2992047 h 4420427"/>
              <a:gd name="connsiteX730" fmla="*/ 2230054 w 4439724"/>
              <a:gd name="connsiteY730" fmla="*/ 2992047 h 4420427"/>
              <a:gd name="connsiteX731" fmla="*/ 2240770 w 4439724"/>
              <a:gd name="connsiteY731" fmla="*/ 2992047 h 4420427"/>
              <a:gd name="connsiteX732" fmla="*/ 2260059 w 4439724"/>
              <a:gd name="connsiteY732" fmla="*/ 2994194 h 4420427"/>
              <a:gd name="connsiteX733" fmla="*/ 2279347 w 4439724"/>
              <a:gd name="connsiteY733" fmla="*/ 2994194 h 4420427"/>
              <a:gd name="connsiteX734" fmla="*/ 2290064 w 4439724"/>
              <a:gd name="connsiteY734" fmla="*/ 2996342 h 4420427"/>
              <a:gd name="connsiteX735" fmla="*/ 2309352 w 4439724"/>
              <a:gd name="connsiteY735" fmla="*/ 2998490 h 4420427"/>
              <a:gd name="connsiteX736" fmla="*/ 2311496 w 4439724"/>
              <a:gd name="connsiteY736" fmla="*/ 2998490 h 4420427"/>
              <a:gd name="connsiteX737" fmla="*/ 2315782 w 4439724"/>
              <a:gd name="connsiteY737" fmla="*/ 2998490 h 4420427"/>
              <a:gd name="connsiteX738" fmla="*/ 2326498 w 4439724"/>
              <a:gd name="connsiteY738" fmla="*/ 3000638 h 4420427"/>
              <a:gd name="connsiteX739" fmla="*/ 2335071 w 4439724"/>
              <a:gd name="connsiteY739" fmla="*/ 3000638 h 4420427"/>
              <a:gd name="connsiteX740" fmla="*/ 2337214 w 4439724"/>
              <a:gd name="connsiteY740" fmla="*/ 3000638 h 4420427"/>
              <a:gd name="connsiteX741" fmla="*/ 2339357 w 4439724"/>
              <a:gd name="connsiteY741" fmla="*/ 3000638 h 4420427"/>
              <a:gd name="connsiteX742" fmla="*/ 2341501 w 4439724"/>
              <a:gd name="connsiteY742" fmla="*/ 3000638 h 4420427"/>
              <a:gd name="connsiteX743" fmla="*/ 2345787 w 4439724"/>
              <a:gd name="connsiteY743" fmla="*/ 3000638 h 4420427"/>
              <a:gd name="connsiteX744" fmla="*/ 2352217 w 4439724"/>
              <a:gd name="connsiteY744" fmla="*/ 3000638 h 4420427"/>
              <a:gd name="connsiteX745" fmla="*/ 2384365 w 4439724"/>
              <a:gd name="connsiteY745" fmla="*/ 3000638 h 4420427"/>
              <a:gd name="connsiteX746" fmla="*/ 2414370 w 4439724"/>
              <a:gd name="connsiteY746" fmla="*/ 2998490 h 4420427"/>
              <a:gd name="connsiteX747" fmla="*/ 2446518 w 4439724"/>
              <a:gd name="connsiteY747" fmla="*/ 2994194 h 4420427"/>
              <a:gd name="connsiteX748" fmla="*/ 2476523 w 4439724"/>
              <a:gd name="connsiteY748" fmla="*/ 2987751 h 4420427"/>
              <a:gd name="connsiteX749" fmla="*/ 2510815 w 4439724"/>
              <a:gd name="connsiteY749" fmla="*/ 2979159 h 4420427"/>
              <a:gd name="connsiteX750" fmla="*/ 2540820 w 4439724"/>
              <a:gd name="connsiteY750" fmla="*/ 2970567 h 4420427"/>
              <a:gd name="connsiteX751" fmla="*/ 2570825 w 4439724"/>
              <a:gd name="connsiteY751" fmla="*/ 2961975 h 4420427"/>
              <a:gd name="connsiteX752" fmla="*/ 2600830 w 4439724"/>
              <a:gd name="connsiteY752" fmla="*/ 2946939 h 4420427"/>
              <a:gd name="connsiteX753" fmla="*/ 2620119 w 4439724"/>
              <a:gd name="connsiteY753" fmla="*/ 2940495 h 4420427"/>
              <a:gd name="connsiteX754" fmla="*/ 2637264 w 4439724"/>
              <a:gd name="connsiteY754" fmla="*/ 2931904 h 4420427"/>
              <a:gd name="connsiteX755" fmla="*/ 2686558 w 4439724"/>
              <a:gd name="connsiteY755" fmla="*/ 2903980 h 4420427"/>
              <a:gd name="connsiteX756" fmla="*/ 2733709 w 4439724"/>
              <a:gd name="connsiteY756" fmla="*/ 2871761 h 4420427"/>
              <a:gd name="connsiteX757" fmla="*/ 2776573 w 4439724"/>
              <a:gd name="connsiteY757" fmla="*/ 2837393 h 4420427"/>
              <a:gd name="connsiteX758" fmla="*/ 2817295 w 4439724"/>
              <a:gd name="connsiteY758" fmla="*/ 2800878 h 4420427"/>
              <a:gd name="connsiteX759" fmla="*/ 2817295 w 4439724"/>
              <a:gd name="connsiteY759" fmla="*/ 2798730 h 4420427"/>
              <a:gd name="connsiteX760" fmla="*/ 2843013 w 4439724"/>
              <a:gd name="connsiteY760" fmla="*/ 2770807 h 4420427"/>
              <a:gd name="connsiteX761" fmla="*/ 2866588 w 4439724"/>
              <a:gd name="connsiteY761" fmla="*/ 2742883 h 4420427"/>
              <a:gd name="connsiteX762" fmla="*/ 2888021 w 4439724"/>
              <a:gd name="connsiteY762" fmla="*/ 2710664 h 4420427"/>
              <a:gd name="connsiteX763" fmla="*/ 2909453 w 4439724"/>
              <a:gd name="connsiteY763" fmla="*/ 2680592 h 4420427"/>
              <a:gd name="connsiteX764" fmla="*/ 2933028 w 4439724"/>
              <a:gd name="connsiteY764" fmla="*/ 2641929 h 4420427"/>
              <a:gd name="connsiteX765" fmla="*/ 2950174 w 4439724"/>
              <a:gd name="connsiteY765" fmla="*/ 2598970 h 4420427"/>
              <a:gd name="connsiteX766" fmla="*/ 2967320 w 4439724"/>
              <a:gd name="connsiteY766" fmla="*/ 2558159 h 4420427"/>
              <a:gd name="connsiteX767" fmla="*/ 2980179 w 4439724"/>
              <a:gd name="connsiteY767" fmla="*/ 2513052 h 4420427"/>
              <a:gd name="connsiteX768" fmla="*/ 2993039 w 4439724"/>
              <a:gd name="connsiteY768" fmla="*/ 2470093 h 4420427"/>
              <a:gd name="connsiteX769" fmla="*/ 2999468 w 4439724"/>
              <a:gd name="connsiteY769" fmla="*/ 2427133 h 4420427"/>
              <a:gd name="connsiteX770" fmla="*/ 3003755 w 4439724"/>
              <a:gd name="connsiteY770" fmla="*/ 2382026 h 4420427"/>
              <a:gd name="connsiteX771" fmla="*/ 3003755 w 4439724"/>
              <a:gd name="connsiteY771" fmla="*/ 2334771 h 4420427"/>
              <a:gd name="connsiteX772" fmla="*/ 3001611 w 4439724"/>
              <a:gd name="connsiteY772" fmla="*/ 2319735 h 4420427"/>
              <a:gd name="connsiteX773" fmla="*/ 3001611 w 4439724"/>
              <a:gd name="connsiteY773" fmla="*/ 2304700 h 4420427"/>
              <a:gd name="connsiteX774" fmla="*/ 3001611 w 4439724"/>
              <a:gd name="connsiteY774" fmla="*/ 2302552 h 4420427"/>
              <a:gd name="connsiteX775" fmla="*/ 2999468 w 4439724"/>
              <a:gd name="connsiteY775" fmla="*/ 2293960 h 4420427"/>
              <a:gd name="connsiteX776" fmla="*/ 2999468 w 4439724"/>
              <a:gd name="connsiteY776" fmla="*/ 2291812 h 4420427"/>
              <a:gd name="connsiteX777" fmla="*/ 2999468 w 4439724"/>
              <a:gd name="connsiteY777" fmla="*/ 2276776 h 4420427"/>
              <a:gd name="connsiteX778" fmla="*/ 2999468 w 4439724"/>
              <a:gd name="connsiteY778" fmla="*/ 2274628 h 4420427"/>
              <a:gd name="connsiteX779" fmla="*/ 2997325 w 4439724"/>
              <a:gd name="connsiteY779" fmla="*/ 2257445 h 4420427"/>
              <a:gd name="connsiteX780" fmla="*/ 2995182 w 4439724"/>
              <a:gd name="connsiteY780" fmla="*/ 2244557 h 4420427"/>
              <a:gd name="connsiteX781" fmla="*/ 2995182 w 4439724"/>
              <a:gd name="connsiteY781" fmla="*/ 2229521 h 4420427"/>
              <a:gd name="connsiteX782" fmla="*/ 2995182 w 4439724"/>
              <a:gd name="connsiteY782" fmla="*/ 2220929 h 4420427"/>
              <a:gd name="connsiteX783" fmla="*/ 2995182 w 4439724"/>
              <a:gd name="connsiteY783" fmla="*/ 2216633 h 4420427"/>
              <a:gd name="connsiteX784" fmla="*/ 3003755 w 4439724"/>
              <a:gd name="connsiteY784" fmla="*/ 2098496 h 4420427"/>
              <a:gd name="connsiteX785" fmla="*/ 3003755 w 4439724"/>
              <a:gd name="connsiteY785" fmla="*/ 2096348 h 4420427"/>
              <a:gd name="connsiteX786" fmla="*/ 3003755 w 4439724"/>
              <a:gd name="connsiteY786" fmla="*/ 2087756 h 4420427"/>
              <a:gd name="connsiteX787" fmla="*/ 3010184 w 4439724"/>
              <a:gd name="connsiteY787" fmla="*/ 2066276 h 4420427"/>
              <a:gd name="connsiteX788" fmla="*/ 3014471 w 4439724"/>
              <a:gd name="connsiteY788" fmla="*/ 2051241 h 4420427"/>
              <a:gd name="connsiteX789" fmla="*/ 3018757 w 4439724"/>
              <a:gd name="connsiteY789" fmla="*/ 2031909 h 4420427"/>
              <a:gd name="connsiteX790" fmla="*/ 3025187 w 4439724"/>
              <a:gd name="connsiteY790" fmla="*/ 2003986 h 4420427"/>
              <a:gd name="connsiteX791" fmla="*/ 3031616 w 4439724"/>
              <a:gd name="connsiteY791" fmla="*/ 1978210 h 4420427"/>
              <a:gd name="connsiteX792" fmla="*/ 3040189 w 4439724"/>
              <a:gd name="connsiteY792" fmla="*/ 1961026 h 4420427"/>
              <a:gd name="connsiteX793" fmla="*/ 3048762 w 4439724"/>
              <a:gd name="connsiteY793" fmla="*/ 1943843 h 4420427"/>
              <a:gd name="connsiteX794" fmla="*/ 3055192 w 4439724"/>
              <a:gd name="connsiteY794" fmla="*/ 1924511 h 4420427"/>
              <a:gd name="connsiteX795" fmla="*/ 3057335 w 4439724"/>
              <a:gd name="connsiteY795" fmla="*/ 1922363 h 4420427"/>
              <a:gd name="connsiteX796" fmla="*/ 3065908 w 4439724"/>
              <a:gd name="connsiteY796" fmla="*/ 1905179 h 4420427"/>
              <a:gd name="connsiteX797" fmla="*/ 3076624 w 4439724"/>
              <a:gd name="connsiteY797" fmla="*/ 1881552 h 4420427"/>
              <a:gd name="connsiteX798" fmla="*/ 3089483 w 4439724"/>
              <a:gd name="connsiteY798" fmla="*/ 1860072 h 4420427"/>
              <a:gd name="connsiteX799" fmla="*/ 3098056 w 4439724"/>
              <a:gd name="connsiteY799" fmla="*/ 1845037 h 4420427"/>
              <a:gd name="connsiteX800" fmla="*/ 3100199 w 4439724"/>
              <a:gd name="connsiteY800" fmla="*/ 1842889 h 4420427"/>
              <a:gd name="connsiteX801" fmla="*/ 3100199 w 4439724"/>
              <a:gd name="connsiteY801" fmla="*/ 1840741 h 4420427"/>
              <a:gd name="connsiteX802" fmla="*/ 3106629 w 4439724"/>
              <a:gd name="connsiteY802" fmla="*/ 1825705 h 4420427"/>
              <a:gd name="connsiteX803" fmla="*/ 3119488 w 4439724"/>
              <a:gd name="connsiteY803" fmla="*/ 1810669 h 4420427"/>
              <a:gd name="connsiteX804" fmla="*/ 3121631 w 4439724"/>
              <a:gd name="connsiteY804" fmla="*/ 1806373 h 4420427"/>
              <a:gd name="connsiteX805" fmla="*/ 3140920 w 4439724"/>
              <a:gd name="connsiteY805" fmla="*/ 1780598 h 4420427"/>
              <a:gd name="connsiteX806" fmla="*/ 3158066 w 4439724"/>
              <a:gd name="connsiteY806" fmla="*/ 1754822 h 4420427"/>
              <a:gd name="connsiteX807" fmla="*/ 3179498 w 4439724"/>
              <a:gd name="connsiteY807" fmla="*/ 1731195 h 4420427"/>
              <a:gd name="connsiteX808" fmla="*/ 3200930 w 4439724"/>
              <a:gd name="connsiteY808" fmla="*/ 1709715 h 4420427"/>
              <a:gd name="connsiteX809" fmla="*/ 3203074 w 4439724"/>
              <a:gd name="connsiteY809" fmla="*/ 1709715 h 4420427"/>
              <a:gd name="connsiteX810" fmla="*/ 3230935 w 4439724"/>
              <a:gd name="connsiteY810" fmla="*/ 1681792 h 4420427"/>
              <a:gd name="connsiteX811" fmla="*/ 3260940 w 4439724"/>
              <a:gd name="connsiteY811" fmla="*/ 1656016 h 4420427"/>
              <a:gd name="connsiteX812" fmla="*/ 3290945 w 4439724"/>
              <a:gd name="connsiteY812" fmla="*/ 1632389 h 4420427"/>
              <a:gd name="connsiteX813" fmla="*/ 3323094 w 4439724"/>
              <a:gd name="connsiteY813" fmla="*/ 1608761 h 4420427"/>
              <a:gd name="connsiteX814" fmla="*/ 3365958 w 4439724"/>
              <a:gd name="connsiteY814" fmla="*/ 1585134 h 4420427"/>
              <a:gd name="connsiteX815" fmla="*/ 3410965 w 4439724"/>
              <a:gd name="connsiteY815" fmla="*/ 1561506 h 4420427"/>
              <a:gd name="connsiteX816" fmla="*/ 3458116 w 4439724"/>
              <a:gd name="connsiteY816" fmla="*/ 1544322 h 4420427"/>
              <a:gd name="connsiteX817" fmla="*/ 3505267 w 4439724"/>
              <a:gd name="connsiteY817" fmla="*/ 1527139 h 4420427"/>
              <a:gd name="connsiteX818" fmla="*/ 3552418 w 4439724"/>
              <a:gd name="connsiteY818" fmla="*/ 1514251 h 4420427"/>
              <a:gd name="connsiteX819" fmla="*/ 3603855 w 4439724"/>
              <a:gd name="connsiteY819" fmla="*/ 1505659 h 4420427"/>
              <a:gd name="connsiteX820" fmla="*/ 3653149 w 4439724"/>
              <a:gd name="connsiteY820" fmla="*/ 1501363 h 4420427"/>
              <a:gd name="connsiteX821" fmla="*/ 3704060 w 4439724"/>
              <a:gd name="connsiteY821" fmla="*/ 19306 h 4420427"/>
              <a:gd name="connsiteX822" fmla="*/ 3738376 w 4439724"/>
              <a:gd name="connsiteY822" fmla="*/ 21451 h 4420427"/>
              <a:gd name="connsiteX823" fmla="*/ 3774838 w 4439724"/>
              <a:gd name="connsiteY823" fmla="*/ 23596 h 4420427"/>
              <a:gd name="connsiteX824" fmla="*/ 3809154 w 4439724"/>
              <a:gd name="connsiteY824" fmla="*/ 25741 h 4420427"/>
              <a:gd name="connsiteX825" fmla="*/ 3843471 w 4439724"/>
              <a:gd name="connsiteY825" fmla="*/ 34320 h 4420427"/>
              <a:gd name="connsiteX826" fmla="*/ 3875643 w 4439724"/>
              <a:gd name="connsiteY826" fmla="*/ 40754 h 4420427"/>
              <a:gd name="connsiteX827" fmla="*/ 3909960 w 4439724"/>
              <a:gd name="connsiteY827" fmla="*/ 49333 h 4420427"/>
              <a:gd name="connsiteX828" fmla="*/ 3942132 w 4439724"/>
              <a:gd name="connsiteY828" fmla="*/ 62202 h 4420427"/>
              <a:gd name="connsiteX829" fmla="*/ 3974304 w 4439724"/>
              <a:gd name="connsiteY829" fmla="*/ 72926 h 4420427"/>
              <a:gd name="connsiteX830" fmla="*/ 3993607 w 4439724"/>
              <a:gd name="connsiteY830" fmla="*/ 81505 h 4420427"/>
              <a:gd name="connsiteX831" fmla="*/ 4017199 w 4439724"/>
              <a:gd name="connsiteY831" fmla="*/ 92229 h 4420427"/>
              <a:gd name="connsiteX832" fmla="*/ 4042937 w 4439724"/>
              <a:gd name="connsiteY832" fmla="*/ 105098 h 4420427"/>
              <a:gd name="connsiteX833" fmla="*/ 4068674 w 4439724"/>
              <a:gd name="connsiteY833" fmla="*/ 120112 h 4420427"/>
              <a:gd name="connsiteX834" fmla="*/ 4092267 w 4439724"/>
              <a:gd name="connsiteY834" fmla="*/ 135125 h 4420427"/>
              <a:gd name="connsiteX835" fmla="*/ 4113715 w 4439724"/>
              <a:gd name="connsiteY835" fmla="*/ 152284 h 4420427"/>
              <a:gd name="connsiteX836" fmla="*/ 4137308 w 4439724"/>
              <a:gd name="connsiteY836" fmla="*/ 169442 h 4420427"/>
              <a:gd name="connsiteX837" fmla="*/ 4160901 w 4439724"/>
              <a:gd name="connsiteY837" fmla="*/ 186600 h 4420427"/>
              <a:gd name="connsiteX838" fmla="*/ 4184493 w 4439724"/>
              <a:gd name="connsiteY838" fmla="*/ 208048 h 4420427"/>
              <a:gd name="connsiteX839" fmla="*/ 4205941 w 4439724"/>
              <a:gd name="connsiteY839" fmla="*/ 227352 h 4420427"/>
              <a:gd name="connsiteX840" fmla="*/ 4233824 w 4439724"/>
              <a:gd name="connsiteY840" fmla="*/ 257379 h 4420427"/>
              <a:gd name="connsiteX841" fmla="*/ 4259561 w 4439724"/>
              <a:gd name="connsiteY841" fmla="*/ 289551 h 4420427"/>
              <a:gd name="connsiteX842" fmla="*/ 4285299 w 4439724"/>
              <a:gd name="connsiteY842" fmla="*/ 319578 h 4420427"/>
              <a:gd name="connsiteX843" fmla="*/ 4306747 w 4439724"/>
              <a:gd name="connsiteY843" fmla="*/ 353895 h 4420427"/>
              <a:gd name="connsiteX844" fmla="*/ 4323905 w 4439724"/>
              <a:gd name="connsiteY844" fmla="*/ 388212 h 4420427"/>
              <a:gd name="connsiteX845" fmla="*/ 4343208 w 4439724"/>
              <a:gd name="connsiteY845" fmla="*/ 422528 h 4420427"/>
              <a:gd name="connsiteX846" fmla="*/ 4360366 w 4439724"/>
              <a:gd name="connsiteY846" fmla="*/ 458990 h 4420427"/>
              <a:gd name="connsiteX847" fmla="*/ 4373235 w 4439724"/>
              <a:gd name="connsiteY847" fmla="*/ 495452 h 4420427"/>
              <a:gd name="connsiteX848" fmla="*/ 4388249 w 4439724"/>
              <a:gd name="connsiteY848" fmla="*/ 542637 h 4420427"/>
              <a:gd name="connsiteX849" fmla="*/ 4398973 w 4439724"/>
              <a:gd name="connsiteY849" fmla="*/ 589823 h 4420427"/>
              <a:gd name="connsiteX850" fmla="*/ 4407552 w 4439724"/>
              <a:gd name="connsiteY850" fmla="*/ 637008 h 4420427"/>
              <a:gd name="connsiteX851" fmla="*/ 4411841 w 4439724"/>
              <a:gd name="connsiteY851" fmla="*/ 686339 h 4420427"/>
              <a:gd name="connsiteX852" fmla="*/ 4413986 w 4439724"/>
              <a:gd name="connsiteY852" fmla="*/ 735669 h 4420427"/>
              <a:gd name="connsiteX853" fmla="*/ 4411841 w 4439724"/>
              <a:gd name="connsiteY853" fmla="*/ 785000 h 4420427"/>
              <a:gd name="connsiteX854" fmla="*/ 4407552 w 4439724"/>
              <a:gd name="connsiteY854" fmla="*/ 834330 h 4420427"/>
              <a:gd name="connsiteX855" fmla="*/ 4396828 w 4439724"/>
              <a:gd name="connsiteY855" fmla="*/ 883660 h 4420427"/>
              <a:gd name="connsiteX856" fmla="*/ 4386104 w 4439724"/>
              <a:gd name="connsiteY856" fmla="*/ 928701 h 4420427"/>
              <a:gd name="connsiteX857" fmla="*/ 4368946 w 4439724"/>
              <a:gd name="connsiteY857" fmla="*/ 978031 h 4420427"/>
              <a:gd name="connsiteX858" fmla="*/ 4349642 w 4439724"/>
              <a:gd name="connsiteY858" fmla="*/ 1023072 h 4420427"/>
              <a:gd name="connsiteX859" fmla="*/ 4328194 w 4439724"/>
              <a:gd name="connsiteY859" fmla="*/ 1070258 h 4420427"/>
              <a:gd name="connsiteX860" fmla="*/ 4304602 w 4439724"/>
              <a:gd name="connsiteY860" fmla="*/ 1111009 h 4420427"/>
              <a:gd name="connsiteX861" fmla="*/ 4272430 w 4439724"/>
              <a:gd name="connsiteY861" fmla="*/ 1153905 h 4420427"/>
              <a:gd name="connsiteX862" fmla="*/ 4240258 w 4439724"/>
              <a:gd name="connsiteY862" fmla="*/ 1194656 h 4420427"/>
              <a:gd name="connsiteX863" fmla="*/ 4205941 w 4439724"/>
              <a:gd name="connsiteY863" fmla="*/ 1233263 h 4420427"/>
              <a:gd name="connsiteX864" fmla="*/ 4178059 w 4439724"/>
              <a:gd name="connsiteY864" fmla="*/ 1259000 h 4420427"/>
              <a:gd name="connsiteX865" fmla="*/ 4145887 w 4439724"/>
              <a:gd name="connsiteY865" fmla="*/ 1286883 h 4420427"/>
              <a:gd name="connsiteX866" fmla="*/ 4111570 w 4439724"/>
              <a:gd name="connsiteY866" fmla="*/ 1312620 h 4420427"/>
              <a:gd name="connsiteX867" fmla="*/ 4081543 w 4439724"/>
              <a:gd name="connsiteY867" fmla="*/ 1329779 h 4420427"/>
              <a:gd name="connsiteX868" fmla="*/ 4040792 w 4439724"/>
              <a:gd name="connsiteY868" fmla="*/ 1355516 h 4420427"/>
              <a:gd name="connsiteX869" fmla="*/ 3995752 w 4439724"/>
              <a:gd name="connsiteY869" fmla="*/ 1379109 h 4420427"/>
              <a:gd name="connsiteX870" fmla="*/ 3948566 w 4439724"/>
              <a:gd name="connsiteY870" fmla="*/ 1398412 h 4420427"/>
              <a:gd name="connsiteX871" fmla="*/ 3901381 w 4439724"/>
              <a:gd name="connsiteY871" fmla="*/ 1411281 h 4420427"/>
              <a:gd name="connsiteX872" fmla="*/ 3854195 w 4439724"/>
              <a:gd name="connsiteY872" fmla="*/ 1424150 h 4420427"/>
              <a:gd name="connsiteX873" fmla="*/ 3804865 w 4439724"/>
              <a:gd name="connsiteY873" fmla="*/ 1432729 h 4420427"/>
              <a:gd name="connsiteX874" fmla="*/ 3753390 w 4439724"/>
              <a:gd name="connsiteY874" fmla="*/ 1437019 h 4420427"/>
              <a:gd name="connsiteX875" fmla="*/ 3704060 w 4439724"/>
              <a:gd name="connsiteY875" fmla="*/ 1441308 h 4420427"/>
              <a:gd name="connsiteX876" fmla="*/ 3665453 w 4439724"/>
              <a:gd name="connsiteY876" fmla="*/ 1441308 h 4420427"/>
              <a:gd name="connsiteX877" fmla="*/ 3631137 w 4439724"/>
              <a:gd name="connsiteY877" fmla="*/ 1437019 h 4420427"/>
              <a:gd name="connsiteX878" fmla="*/ 3596820 w 4439724"/>
              <a:gd name="connsiteY878" fmla="*/ 1432729 h 4420427"/>
              <a:gd name="connsiteX879" fmla="*/ 3564648 w 4439724"/>
              <a:gd name="connsiteY879" fmla="*/ 1426295 h 4420427"/>
              <a:gd name="connsiteX880" fmla="*/ 3528187 w 4439724"/>
              <a:gd name="connsiteY880" fmla="*/ 1419860 h 4420427"/>
              <a:gd name="connsiteX881" fmla="*/ 3496015 w 4439724"/>
              <a:gd name="connsiteY881" fmla="*/ 1409136 h 4420427"/>
              <a:gd name="connsiteX882" fmla="*/ 3463843 w 4439724"/>
              <a:gd name="connsiteY882" fmla="*/ 1400557 h 4420427"/>
              <a:gd name="connsiteX883" fmla="*/ 3431671 w 4439724"/>
              <a:gd name="connsiteY883" fmla="*/ 1387688 h 4420427"/>
              <a:gd name="connsiteX884" fmla="*/ 3412368 w 4439724"/>
              <a:gd name="connsiteY884" fmla="*/ 1379109 h 4420427"/>
              <a:gd name="connsiteX885" fmla="*/ 3388775 w 4439724"/>
              <a:gd name="connsiteY885" fmla="*/ 1368385 h 4420427"/>
              <a:gd name="connsiteX886" fmla="*/ 3363037 w 4439724"/>
              <a:gd name="connsiteY886" fmla="*/ 1353371 h 4420427"/>
              <a:gd name="connsiteX887" fmla="*/ 3337300 w 4439724"/>
              <a:gd name="connsiteY887" fmla="*/ 1340503 h 4420427"/>
              <a:gd name="connsiteX888" fmla="*/ 3313707 w 4439724"/>
              <a:gd name="connsiteY888" fmla="*/ 1325489 h 4420427"/>
              <a:gd name="connsiteX889" fmla="*/ 3287970 w 4439724"/>
              <a:gd name="connsiteY889" fmla="*/ 1310475 h 4420427"/>
              <a:gd name="connsiteX890" fmla="*/ 3264377 w 4439724"/>
              <a:gd name="connsiteY890" fmla="*/ 1291172 h 4420427"/>
              <a:gd name="connsiteX891" fmla="*/ 3242929 w 4439724"/>
              <a:gd name="connsiteY891" fmla="*/ 1271869 h 4420427"/>
              <a:gd name="connsiteX892" fmla="*/ 3221481 w 4439724"/>
              <a:gd name="connsiteY892" fmla="*/ 1254711 h 4420427"/>
              <a:gd name="connsiteX893" fmla="*/ 3200033 w 4439724"/>
              <a:gd name="connsiteY893" fmla="*/ 1233263 h 4420427"/>
              <a:gd name="connsiteX894" fmla="*/ 3176440 w 4439724"/>
              <a:gd name="connsiteY894" fmla="*/ 1209670 h 4420427"/>
              <a:gd name="connsiteX895" fmla="*/ 3154993 w 4439724"/>
              <a:gd name="connsiteY895" fmla="*/ 1186077 h 4420427"/>
              <a:gd name="connsiteX896" fmla="*/ 3135689 w 4439724"/>
              <a:gd name="connsiteY896" fmla="*/ 1160339 h 4420427"/>
              <a:gd name="connsiteX897" fmla="*/ 3118531 w 4439724"/>
              <a:gd name="connsiteY897" fmla="*/ 1134602 h 4420427"/>
              <a:gd name="connsiteX898" fmla="*/ 3097083 w 4439724"/>
              <a:gd name="connsiteY898" fmla="*/ 1102430 h 4420427"/>
              <a:gd name="connsiteX899" fmla="*/ 3077780 w 4439724"/>
              <a:gd name="connsiteY899" fmla="*/ 1070258 h 4420427"/>
              <a:gd name="connsiteX900" fmla="*/ 3062766 w 4439724"/>
              <a:gd name="connsiteY900" fmla="*/ 1035941 h 4420427"/>
              <a:gd name="connsiteX901" fmla="*/ 3045608 w 4439724"/>
              <a:gd name="connsiteY901" fmla="*/ 1001624 h 4420427"/>
              <a:gd name="connsiteX902" fmla="*/ 3030595 w 4439724"/>
              <a:gd name="connsiteY902" fmla="*/ 967307 h 4420427"/>
              <a:gd name="connsiteX903" fmla="*/ 3019871 w 4439724"/>
              <a:gd name="connsiteY903" fmla="*/ 930846 h 4420427"/>
              <a:gd name="connsiteX904" fmla="*/ 3011291 w 4439724"/>
              <a:gd name="connsiteY904" fmla="*/ 894384 h 4420427"/>
              <a:gd name="connsiteX905" fmla="*/ 3002712 w 4439724"/>
              <a:gd name="connsiteY905" fmla="*/ 860068 h 4420427"/>
              <a:gd name="connsiteX906" fmla="*/ 2996278 w 4439724"/>
              <a:gd name="connsiteY906" fmla="*/ 817172 h 4420427"/>
              <a:gd name="connsiteX907" fmla="*/ 2994133 w 4439724"/>
              <a:gd name="connsiteY907" fmla="*/ 776420 h 4420427"/>
              <a:gd name="connsiteX908" fmla="*/ 2991988 w 4439724"/>
              <a:gd name="connsiteY908" fmla="*/ 733524 h 4420427"/>
              <a:gd name="connsiteX909" fmla="*/ 2994133 w 4439724"/>
              <a:gd name="connsiteY909" fmla="*/ 690628 h 4420427"/>
              <a:gd name="connsiteX910" fmla="*/ 2996278 w 4439724"/>
              <a:gd name="connsiteY910" fmla="*/ 649877 h 4420427"/>
              <a:gd name="connsiteX911" fmla="*/ 3002712 w 4439724"/>
              <a:gd name="connsiteY911" fmla="*/ 606981 h 4420427"/>
              <a:gd name="connsiteX912" fmla="*/ 3011291 w 4439724"/>
              <a:gd name="connsiteY912" fmla="*/ 566230 h 4420427"/>
              <a:gd name="connsiteX913" fmla="*/ 3022015 w 4439724"/>
              <a:gd name="connsiteY913" fmla="*/ 523334 h 4420427"/>
              <a:gd name="connsiteX914" fmla="*/ 3037029 w 4439724"/>
              <a:gd name="connsiteY914" fmla="*/ 484728 h 4420427"/>
              <a:gd name="connsiteX915" fmla="*/ 3052042 w 4439724"/>
              <a:gd name="connsiteY915" fmla="*/ 443976 h 4420427"/>
              <a:gd name="connsiteX916" fmla="*/ 3069201 w 4439724"/>
              <a:gd name="connsiteY916" fmla="*/ 407515 h 4420427"/>
              <a:gd name="connsiteX917" fmla="*/ 3090649 w 4439724"/>
              <a:gd name="connsiteY917" fmla="*/ 366764 h 4420427"/>
              <a:gd name="connsiteX918" fmla="*/ 3114241 w 4439724"/>
              <a:gd name="connsiteY918" fmla="*/ 332447 h 4420427"/>
              <a:gd name="connsiteX919" fmla="*/ 3142124 w 4439724"/>
              <a:gd name="connsiteY919" fmla="*/ 293840 h 4420427"/>
              <a:gd name="connsiteX920" fmla="*/ 3170006 w 4439724"/>
              <a:gd name="connsiteY920" fmla="*/ 261668 h 4420427"/>
              <a:gd name="connsiteX921" fmla="*/ 3200033 w 4439724"/>
              <a:gd name="connsiteY921" fmla="*/ 229496 h 4420427"/>
              <a:gd name="connsiteX922" fmla="*/ 3200033 w 4439724"/>
              <a:gd name="connsiteY922" fmla="*/ 227352 h 4420427"/>
              <a:gd name="connsiteX923" fmla="*/ 3227916 w 4439724"/>
              <a:gd name="connsiteY923" fmla="*/ 201614 h 4420427"/>
              <a:gd name="connsiteX924" fmla="*/ 3257943 w 4439724"/>
              <a:gd name="connsiteY924" fmla="*/ 175876 h 4420427"/>
              <a:gd name="connsiteX925" fmla="*/ 3290115 w 4439724"/>
              <a:gd name="connsiteY925" fmla="*/ 150139 h 4420427"/>
              <a:gd name="connsiteX926" fmla="*/ 3320142 w 4439724"/>
              <a:gd name="connsiteY926" fmla="*/ 128691 h 4420427"/>
              <a:gd name="connsiteX927" fmla="*/ 3365182 w 4439724"/>
              <a:gd name="connsiteY927" fmla="*/ 102953 h 4420427"/>
              <a:gd name="connsiteX928" fmla="*/ 3410223 w 4439724"/>
              <a:gd name="connsiteY928" fmla="*/ 81505 h 4420427"/>
              <a:gd name="connsiteX929" fmla="*/ 3457408 w 4439724"/>
              <a:gd name="connsiteY929" fmla="*/ 64347 h 4420427"/>
              <a:gd name="connsiteX930" fmla="*/ 3502449 w 4439724"/>
              <a:gd name="connsiteY930" fmla="*/ 47189 h 4420427"/>
              <a:gd name="connsiteX931" fmla="*/ 3551779 w 4439724"/>
              <a:gd name="connsiteY931" fmla="*/ 36465 h 4420427"/>
              <a:gd name="connsiteX932" fmla="*/ 3601110 w 4439724"/>
              <a:gd name="connsiteY932" fmla="*/ 25741 h 4420427"/>
              <a:gd name="connsiteX933" fmla="*/ 3652585 w 4439724"/>
              <a:gd name="connsiteY933" fmla="*/ 21451 h 4420427"/>
              <a:gd name="connsiteX934" fmla="*/ 2211808 w 4439724"/>
              <a:gd name="connsiteY934" fmla="*/ 12869 h 4420427"/>
              <a:gd name="connsiteX935" fmla="*/ 2248242 w 4439724"/>
              <a:gd name="connsiteY935" fmla="*/ 15014 h 4420427"/>
              <a:gd name="connsiteX936" fmla="*/ 2282534 w 4439724"/>
              <a:gd name="connsiteY936" fmla="*/ 17158 h 4420427"/>
              <a:gd name="connsiteX937" fmla="*/ 2316825 w 4439724"/>
              <a:gd name="connsiteY937" fmla="*/ 19303 h 4420427"/>
              <a:gd name="connsiteX938" fmla="*/ 2351117 w 4439724"/>
              <a:gd name="connsiteY938" fmla="*/ 25738 h 4420427"/>
              <a:gd name="connsiteX939" fmla="*/ 2385408 w 4439724"/>
              <a:gd name="connsiteY939" fmla="*/ 34317 h 4420427"/>
              <a:gd name="connsiteX940" fmla="*/ 2417556 w 4439724"/>
              <a:gd name="connsiteY940" fmla="*/ 42896 h 4420427"/>
              <a:gd name="connsiteX941" fmla="*/ 2449705 w 4439724"/>
              <a:gd name="connsiteY941" fmla="*/ 53620 h 4420427"/>
              <a:gd name="connsiteX942" fmla="*/ 2483996 w 4439724"/>
              <a:gd name="connsiteY942" fmla="*/ 66489 h 4420427"/>
              <a:gd name="connsiteX943" fmla="*/ 2503285 w 4439724"/>
              <a:gd name="connsiteY943" fmla="*/ 75068 h 4420427"/>
              <a:gd name="connsiteX944" fmla="*/ 2524717 w 4439724"/>
              <a:gd name="connsiteY944" fmla="*/ 83647 h 4420427"/>
              <a:gd name="connsiteX945" fmla="*/ 2550436 w 4439724"/>
              <a:gd name="connsiteY945" fmla="*/ 98661 h 4420427"/>
              <a:gd name="connsiteX946" fmla="*/ 2576154 w 4439724"/>
              <a:gd name="connsiteY946" fmla="*/ 113675 h 4420427"/>
              <a:gd name="connsiteX947" fmla="*/ 2599730 w 4439724"/>
              <a:gd name="connsiteY947" fmla="*/ 128688 h 4420427"/>
              <a:gd name="connsiteX948" fmla="*/ 2625448 w 4439724"/>
              <a:gd name="connsiteY948" fmla="*/ 145846 h 4420427"/>
              <a:gd name="connsiteX949" fmla="*/ 2649024 w 4439724"/>
              <a:gd name="connsiteY949" fmla="*/ 160860 h 4420427"/>
              <a:gd name="connsiteX950" fmla="*/ 2670456 w 4439724"/>
              <a:gd name="connsiteY950" fmla="*/ 180163 h 4420427"/>
              <a:gd name="connsiteX951" fmla="*/ 2694031 w 4439724"/>
              <a:gd name="connsiteY951" fmla="*/ 199466 h 4420427"/>
              <a:gd name="connsiteX952" fmla="*/ 2713320 w 4439724"/>
              <a:gd name="connsiteY952" fmla="*/ 220914 h 4420427"/>
              <a:gd name="connsiteX953" fmla="*/ 2736895 w 4439724"/>
              <a:gd name="connsiteY953" fmla="*/ 246652 h 4420427"/>
              <a:gd name="connsiteX954" fmla="*/ 2760471 w 4439724"/>
              <a:gd name="connsiteY954" fmla="*/ 270245 h 4420427"/>
              <a:gd name="connsiteX955" fmla="*/ 2781903 w 4439724"/>
              <a:gd name="connsiteY955" fmla="*/ 300272 h 4420427"/>
              <a:gd name="connsiteX956" fmla="*/ 2801192 w 4439724"/>
              <a:gd name="connsiteY956" fmla="*/ 326009 h 4420427"/>
              <a:gd name="connsiteX957" fmla="*/ 2820481 w 4439724"/>
              <a:gd name="connsiteY957" fmla="*/ 358181 h 4420427"/>
              <a:gd name="connsiteX958" fmla="*/ 2839770 w 4439724"/>
              <a:gd name="connsiteY958" fmla="*/ 390353 h 4420427"/>
              <a:gd name="connsiteX959" fmla="*/ 2856915 w 4439724"/>
              <a:gd name="connsiteY959" fmla="*/ 422525 h 4420427"/>
              <a:gd name="connsiteX960" fmla="*/ 2869775 w 4439724"/>
              <a:gd name="connsiteY960" fmla="*/ 458987 h 4420427"/>
              <a:gd name="connsiteX961" fmla="*/ 2884777 w 4439724"/>
              <a:gd name="connsiteY961" fmla="*/ 495448 h 4420427"/>
              <a:gd name="connsiteX962" fmla="*/ 2895493 w 4439724"/>
              <a:gd name="connsiteY962" fmla="*/ 529765 h 4420427"/>
              <a:gd name="connsiteX963" fmla="*/ 2906209 w 4439724"/>
              <a:gd name="connsiteY963" fmla="*/ 566226 h 4420427"/>
              <a:gd name="connsiteX964" fmla="*/ 2912639 w 4439724"/>
              <a:gd name="connsiteY964" fmla="*/ 602688 h 4420427"/>
              <a:gd name="connsiteX965" fmla="*/ 2916925 w 4439724"/>
              <a:gd name="connsiteY965" fmla="*/ 641294 h 4420427"/>
              <a:gd name="connsiteX966" fmla="*/ 2921212 w 4439724"/>
              <a:gd name="connsiteY966" fmla="*/ 684190 h 4420427"/>
              <a:gd name="connsiteX967" fmla="*/ 2921212 w 4439724"/>
              <a:gd name="connsiteY967" fmla="*/ 727086 h 4420427"/>
              <a:gd name="connsiteX968" fmla="*/ 2921212 w 4439724"/>
              <a:gd name="connsiteY968" fmla="*/ 767837 h 4420427"/>
              <a:gd name="connsiteX969" fmla="*/ 2916925 w 4439724"/>
              <a:gd name="connsiteY969" fmla="*/ 810733 h 4420427"/>
              <a:gd name="connsiteX970" fmla="*/ 2910496 w 4439724"/>
              <a:gd name="connsiteY970" fmla="*/ 851484 h 4420427"/>
              <a:gd name="connsiteX971" fmla="*/ 2899780 w 4439724"/>
              <a:gd name="connsiteY971" fmla="*/ 892235 h 4420427"/>
              <a:gd name="connsiteX972" fmla="*/ 2891207 w 4439724"/>
              <a:gd name="connsiteY972" fmla="*/ 930842 h 4420427"/>
              <a:gd name="connsiteX973" fmla="*/ 2878348 w 4439724"/>
              <a:gd name="connsiteY973" fmla="*/ 973738 h 4420427"/>
              <a:gd name="connsiteX974" fmla="*/ 2861202 w 4439724"/>
              <a:gd name="connsiteY974" fmla="*/ 1010199 h 4420427"/>
              <a:gd name="connsiteX975" fmla="*/ 2841913 w 4439724"/>
              <a:gd name="connsiteY975" fmla="*/ 1050950 h 4420427"/>
              <a:gd name="connsiteX976" fmla="*/ 2820481 w 4439724"/>
              <a:gd name="connsiteY976" fmla="*/ 1087412 h 4420427"/>
              <a:gd name="connsiteX977" fmla="*/ 2799049 w 4439724"/>
              <a:gd name="connsiteY977" fmla="*/ 1126018 h 4420427"/>
              <a:gd name="connsiteX978" fmla="*/ 2773330 w 4439724"/>
              <a:gd name="connsiteY978" fmla="*/ 1160335 h 4420427"/>
              <a:gd name="connsiteX979" fmla="*/ 2745468 w 4439724"/>
              <a:gd name="connsiteY979" fmla="*/ 1192507 h 4420427"/>
              <a:gd name="connsiteX980" fmla="*/ 2713320 w 4439724"/>
              <a:gd name="connsiteY980" fmla="*/ 1224679 h 4420427"/>
              <a:gd name="connsiteX981" fmla="*/ 2691888 w 4439724"/>
              <a:gd name="connsiteY981" fmla="*/ 1246127 h 4420427"/>
              <a:gd name="connsiteX982" fmla="*/ 2668312 w 4439724"/>
              <a:gd name="connsiteY982" fmla="*/ 1267575 h 4420427"/>
              <a:gd name="connsiteX983" fmla="*/ 2642594 w 4439724"/>
              <a:gd name="connsiteY983" fmla="*/ 1289023 h 4420427"/>
              <a:gd name="connsiteX984" fmla="*/ 2614732 w 4439724"/>
              <a:gd name="connsiteY984" fmla="*/ 1306181 h 4420427"/>
              <a:gd name="connsiteX985" fmla="*/ 2595443 w 4439724"/>
              <a:gd name="connsiteY985" fmla="*/ 1319050 h 4420427"/>
              <a:gd name="connsiteX986" fmla="*/ 2582584 w 4439724"/>
              <a:gd name="connsiteY986" fmla="*/ 1327629 h 4420427"/>
              <a:gd name="connsiteX987" fmla="*/ 2580441 w 4439724"/>
              <a:gd name="connsiteY987" fmla="*/ 1327629 h 4420427"/>
              <a:gd name="connsiteX988" fmla="*/ 2576154 w 4439724"/>
              <a:gd name="connsiteY988" fmla="*/ 1329774 h 4420427"/>
              <a:gd name="connsiteX989" fmla="*/ 2576154 w 4439724"/>
              <a:gd name="connsiteY989" fmla="*/ 1331919 h 4420427"/>
              <a:gd name="connsiteX990" fmla="*/ 2574011 w 4439724"/>
              <a:gd name="connsiteY990" fmla="*/ 1329774 h 4420427"/>
              <a:gd name="connsiteX991" fmla="*/ 2567581 w 4439724"/>
              <a:gd name="connsiteY991" fmla="*/ 1336208 h 4420427"/>
              <a:gd name="connsiteX992" fmla="*/ 2567581 w 4439724"/>
              <a:gd name="connsiteY992" fmla="*/ 1338353 h 4420427"/>
              <a:gd name="connsiteX993" fmla="*/ 2556865 w 4439724"/>
              <a:gd name="connsiteY993" fmla="*/ 1342643 h 4420427"/>
              <a:gd name="connsiteX994" fmla="*/ 2554722 w 4439724"/>
              <a:gd name="connsiteY994" fmla="*/ 1342643 h 4420427"/>
              <a:gd name="connsiteX995" fmla="*/ 2529003 w 4439724"/>
              <a:gd name="connsiteY995" fmla="*/ 1355511 h 4420427"/>
              <a:gd name="connsiteX996" fmla="*/ 2503285 w 4439724"/>
              <a:gd name="connsiteY996" fmla="*/ 1368380 h 4420427"/>
              <a:gd name="connsiteX997" fmla="*/ 2503285 w 4439724"/>
              <a:gd name="connsiteY997" fmla="*/ 1370525 h 4420427"/>
              <a:gd name="connsiteX998" fmla="*/ 2501142 w 4439724"/>
              <a:gd name="connsiteY998" fmla="*/ 1370525 h 4420427"/>
              <a:gd name="connsiteX999" fmla="*/ 2483996 w 4439724"/>
              <a:gd name="connsiteY999" fmla="*/ 1376959 h 4420427"/>
              <a:gd name="connsiteX1000" fmla="*/ 2468993 w 4439724"/>
              <a:gd name="connsiteY1000" fmla="*/ 1383394 h 4420427"/>
              <a:gd name="connsiteX1001" fmla="*/ 2460421 w 4439724"/>
              <a:gd name="connsiteY1001" fmla="*/ 1389828 h 4420427"/>
              <a:gd name="connsiteX1002" fmla="*/ 2460421 w 4439724"/>
              <a:gd name="connsiteY1002" fmla="*/ 1385538 h 4420427"/>
              <a:gd name="connsiteX1003" fmla="*/ 2438988 w 4439724"/>
              <a:gd name="connsiteY1003" fmla="*/ 1396262 h 4420427"/>
              <a:gd name="connsiteX1004" fmla="*/ 2417556 w 4439724"/>
              <a:gd name="connsiteY1004" fmla="*/ 1400552 h 4420427"/>
              <a:gd name="connsiteX1005" fmla="*/ 2396124 w 4439724"/>
              <a:gd name="connsiteY1005" fmla="*/ 1406986 h 4420427"/>
              <a:gd name="connsiteX1006" fmla="*/ 2374692 w 4439724"/>
              <a:gd name="connsiteY1006" fmla="*/ 1411276 h 4420427"/>
              <a:gd name="connsiteX1007" fmla="*/ 2368262 w 4439724"/>
              <a:gd name="connsiteY1007" fmla="*/ 1413421 h 4420427"/>
              <a:gd name="connsiteX1008" fmla="*/ 2366119 w 4439724"/>
              <a:gd name="connsiteY1008" fmla="*/ 1413421 h 4420427"/>
              <a:gd name="connsiteX1009" fmla="*/ 2363976 w 4439724"/>
              <a:gd name="connsiteY1009" fmla="*/ 1417710 h 4420427"/>
              <a:gd name="connsiteX1010" fmla="*/ 2359689 w 4439724"/>
              <a:gd name="connsiteY1010" fmla="*/ 1417710 h 4420427"/>
              <a:gd name="connsiteX1011" fmla="*/ 2351117 w 4439724"/>
              <a:gd name="connsiteY1011" fmla="*/ 1419855 h 4420427"/>
              <a:gd name="connsiteX1012" fmla="*/ 2336114 w 4439724"/>
              <a:gd name="connsiteY1012" fmla="*/ 1422000 h 4420427"/>
              <a:gd name="connsiteX1013" fmla="*/ 2327541 w 4439724"/>
              <a:gd name="connsiteY1013" fmla="*/ 1424145 h 4420427"/>
              <a:gd name="connsiteX1014" fmla="*/ 2203235 w 4439724"/>
              <a:gd name="connsiteY1014" fmla="*/ 1430579 h 4420427"/>
              <a:gd name="connsiteX1015" fmla="*/ 2194662 w 4439724"/>
              <a:gd name="connsiteY1015" fmla="*/ 1432724 h 4420427"/>
              <a:gd name="connsiteX1016" fmla="*/ 2183946 w 4439724"/>
              <a:gd name="connsiteY1016" fmla="*/ 1430579 h 4420427"/>
              <a:gd name="connsiteX1017" fmla="*/ 2168943 w 4439724"/>
              <a:gd name="connsiteY1017" fmla="*/ 1430579 h 4420427"/>
              <a:gd name="connsiteX1018" fmla="*/ 2151798 w 4439724"/>
              <a:gd name="connsiteY1018" fmla="*/ 1428434 h 4420427"/>
              <a:gd name="connsiteX1019" fmla="*/ 2143225 w 4439724"/>
              <a:gd name="connsiteY1019" fmla="*/ 1428434 h 4420427"/>
              <a:gd name="connsiteX1020" fmla="*/ 2123936 w 4439724"/>
              <a:gd name="connsiteY1020" fmla="*/ 1426290 h 4420427"/>
              <a:gd name="connsiteX1021" fmla="*/ 2117506 w 4439724"/>
              <a:gd name="connsiteY1021" fmla="*/ 1426290 h 4420427"/>
              <a:gd name="connsiteX1022" fmla="*/ 2113220 w 4439724"/>
              <a:gd name="connsiteY1022" fmla="*/ 1424145 h 4420427"/>
              <a:gd name="connsiteX1023" fmla="*/ 2111077 w 4439724"/>
              <a:gd name="connsiteY1023" fmla="*/ 1424145 h 4420427"/>
              <a:gd name="connsiteX1024" fmla="*/ 2102504 w 4439724"/>
              <a:gd name="connsiteY1024" fmla="*/ 1424145 h 4420427"/>
              <a:gd name="connsiteX1025" fmla="*/ 2096074 w 4439724"/>
              <a:gd name="connsiteY1025" fmla="*/ 1424145 h 4420427"/>
              <a:gd name="connsiteX1026" fmla="*/ 2093931 w 4439724"/>
              <a:gd name="connsiteY1026" fmla="*/ 1424145 h 4420427"/>
              <a:gd name="connsiteX1027" fmla="*/ 2091788 w 4439724"/>
              <a:gd name="connsiteY1027" fmla="*/ 1424145 h 4420427"/>
              <a:gd name="connsiteX1028" fmla="*/ 2089644 w 4439724"/>
              <a:gd name="connsiteY1028" fmla="*/ 1424145 h 4420427"/>
              <a:gd name="connsiteX1029" fmla="*/ 2087501 w 4439724"/>
              <a:gd name="connsiteY1029" fmla="*/ 1424145 h 4420427"/>
              <a:gd name="connsiteX1030" fmla="*/ 2085358 w 4439724"/>
              <a:gd name="connsiteY1030" fmla="*/ 1424145 h 4420427"/>
              <a:gd name="connsiteX1031" fmla="*/ 2074642 w 4439724"/>
              <a:gd name="connsiteY1031" fmla="*/ 1424145 h 4420427"/>
              <a:gd name="connsiteX1032" fmla="*/ 2044637 w 4439724"/>
              <a:gd name="connsiteY1032" fmla="*/ 1424145 h 4420427"/>
              <a:gd name="connsiteX1033" fmla="*/ 2012489 w 4439724"/>
              <a:gd name="connsiteY1033" fmla="*/ 1426290 h 4420427"/>
              <a:gd name="connsiteX1034" fmla="*/ 1982484 w 4439724"/>
              <a:gd name="connsiteY1034" fmla="*/ 1430579 h 4420427"/>
              <a:gd name="connsiteX1035" fmla="*/ 1948192 w 4439724"/>
              <a:gd name="connsiteY1035" fmla="*/ 1434869 h 4420427"/>
              <a:gd name="connsiteX1036" fmla="*/ 1918187 w 4439724"/>
              <a:gd name="connsiteY1036" fmla="*/ 1445593 h 4420427"/>
              <a:gd name="connsiteX1037" fmla="*/ 1888182 w 4439724"/>
              <a:gd name="connsiteY1037" fmla="*/ 1452027 h 4420427"/>
              <a:gd name="connsiteX1038" fmla="*/ 1856034 w 4439724"/>
              <a:gd name="connsiteY1038" fmla="*/ 1462751 h 4420427"/>
              <a:gd name="connsiteX1039" fmla="*/ 1826029 w 4439724"/>
              <a:gd name="connsiteY1039" fmla="*/ 1475620 h 4420427"/>
              <a:gd name="connsiteX1040" fmla="*/ 1806740 w 4439724"/>
              <a:gd name="connsiteY1040" fmla="*/ 1484199 h 4420427"/>
              <a:gd name="connsiteX1041" fmla="*/ 1787451 w 4439724"/>
              <a:gd name="connsiteY1041" fmla="*/ 1492778 h 4420427"/>
              <a:gd name="connsiteX1042" fmla="*/ 1738157 w 4439724"/>
              <a:gd name="connsiteY1042" fmla="*/ 1522805 h 4420427"/>
              <a:gd name="connsiteX1043" fmla="*/ 1695293 w 4439724"/>
              <a:gd name="connsiteY1043" fmla="*/ 1552833 h 4420427"/>
              <a:gd name="connsiteX1044" fmla="*/ 1650285 w 4439724"/>
              <a:gd name="connsiteY1044" fmla="*/ 1587149 h 4420427"/>
              <a:gd name="connsiteX1045" fmla="*/ 1611707 w 4439724"/>
              <a:gd name="connsiteY1045" fmla="*/ 1623611 h 4420427"/>
              <a:gd name="connsiteX1046" fmla="*/ 1607421 w 4439724"/>
              <a:gd name="connsiteY1046" fmla="*/ 1625756 h 4420427"/>
              <a:gd name="connsiteX1047" fmla="*/ 1583846 w 4439724"/>
              <a:gd name="connsiteY1047" fmla="*/ 1651493 h 4420427"/>
              <a:gd name="connsiteX1048" fmla="*/ 1560270 w 4439724"/>
              <a:gd name="connsiteY1048" fmla="*/ 1683665 h 4420427"/>
              <a:gd name="connsiteX1049" fmla="*/ 1538838 w 4439724"/>
              <a:gd name="connsiteY1049" fmla="*/ 1711547 h 4420427"/>
              <a:gd name="connsiteX1050" fmla="*/ 1517406 w 4439724"/>
              <a:gd name="connsiteY1050" fmla="*/ 1743719 h 4420427"/>
              <a:gd name="connsiteX1051" fmla="*/ 1495974 w 4439724"/>
              <a:gd name="connsiteY1051" fmla="*/ 1782326 h 4420427"/>
              <a:gd name="connsiteX1052" fmla="*/ 1474542 w 4439724"/>
              <a:gd name="connsiteY1052" fmla="*/ 1825222 h 4420427"/>
              <a:gd name="connsiteX1053" fmla="*/ 1459539 w 4439724"/>
              <a:gd name="connsiteY1053" fmla="*/ 1868117 h 4420427"/>
              <a:gd name="connsiteX1054" fmla="*/ 1444537 w 4439724"/>
              <a:gd name="connsiteY1054" fmla="*/ 1911013 h 4420427"/>
              <a:gd name="connsiteX1055" fmla="*/ 1435964 w 4439724"/>
              <a:gd name="connsiteY1055" fmla="*/ 1956054 h 4420427"/>
              <a:gd name="connsiteX1056" fmla="*/ 1427391 w 4439724"/>
              <a:gd name="connsiteY1056" fmla="*/ 2001095 h 4420427"/>
              <a:gd name="connsiteX1057" fmla="*/ 1425248 w 4439724"/>
              <a:gd name="connsiteY1057" fmla="*/ 2043991 h 4420427"/>
              <a:gd name="connsiteX1058" fmla="*/ 1420961 w 4439724"/>
              <a:gd name="connsiteY1058" fmla="*/ 2089031 h 4420427"/>
              <a:gd name="connsiteX1059" fmla="*/ 1425248 w 4439724"/>
              <a:gd name="connsiteY1059" fmla="*/ 2104045 h 4420427"/>
              <a:gd name="connsiteX1060" fmla="*/ 1427391 w 4439724"/>
              <a:gd name="connsiteY1060" fmla="*/ 2116914 h 4420427"/>
              <a:gd name="connsiteX1061" fmla="*/ 1427391 w 4439724"/>
              <a:gd name="connsiteY1061" fmla="*/ 2119059 h 4420427"/>
              <a:gd name="connsiteX1062" fmla="*/ 1427391 w 4439724"/>
              <a:gd name="connsiteY1062" fmla="*/ 2125493 h 4420427"/>
              <a:gd name="connsiteX1063" fmla="*/ 1427391 w 4439724"/>
              <a:gd name="connsiteY1063" fmla="*/ 2129783 h 4420427"/>
              <a:gd name="connsiteX1064" fmla="*/ 1427391 w 4439724"/>
              <a:gd name="connsiteY1064" fmla="*/ 2134072 h 4420427"/>
              <a:gd name="connsiteX1065" fmla="*/ 1429534 w 4439724"/>
              <a:gd name="connsiteY1065" fmla="*/ 2140506 h 4420427"/>
              <a:gd name="connsiteX1066" fmla="*/ 1429534 w 4439724"/>
              <a:gd name="connsiteY1066" fmla="*/ 2149086 h 4420427"/>
              <a:gd name="connsiteX1067" fmla="*/ 1429534 w 4439724"/>
              <a:gd name="connsiteY1067" fmla="*/ 2151230 h 4420427"/>
              <a:gd name="connsiteX1068" fmla="*/ 1429534 w 4439724"/>
              <a:gd name="connsiteY1068" fmla="*/ 2153375 h 4420427"/>
              <a:gd name="connsiteX1069" fmla="*/ 1431677 w 4439724"/>
              <a:gd name="connsiteY1069" fmla="*/ 2170534 h 4420427"/>
              <a:gd name="connsiteX1070" fmla="*/ 1431677 w 4439724"/>
              <a:gd name="connsiteY1070" fmla="*/ 2194126 h 4420427"/>
              <a:gd name="connsiteX1071" fmla="*/ 1431677 w 4439724"/>
              <a:gd name="connsiteY1071" fmla="*/ 2202706 h 4420427"/>
              <a:gd name="connsiteX1072" fmla="*/ 1431677 w 4439724"/>
              <a:gd name="connsiteY1072" fmla="*/ 2204850 h 4420427"/>
              <a:gd name="connsiteX1073" fmla="*/ 1425248 w 4439724"/>
              <a:gd name="connsiteY1073" fmla="*/ 2327104 h 4420427"/>
              <a:gd name="connsiteX1074" fmla="*/ 1420961 w 4439724"/>
              <a:gd name="connsiteY1074" fmla="*/ 2337828 h 4420427"/>
              <a:gd name="connsiteX1075" fmla="*/ 1418818 w 4439724"/>
              <a:gd name="connsiteY1075" fmla="*/ 2348552 h 4420427"/>
              <a:gd name="connsiteX1076" fmla="*/ 1418818 w 4439724"/>
              <a:gd name="connsiteY1076" fmla="*/ 2350696 h 4420427"/>
              <a:gd name="connsiteX1077" fmla="*/ 1416675 w 4439724"/>
              <a:gd name="connsiteY1077" fmla="*/ 2363565 h 4420427"/>
              <a:gd name="connsiteX1078" fmla="*/ 1414532 w 4439724"/>
              <a:gd name="connsiteY1078" fmla="*/ 2367855 h 4420427"/>
              <a:gd name="connsiteX1079" fmla="*/ 1414532 w 4439724"/>
              <a:gd name="connsiteY1079" fmla="*/ 2370000 h 4420427"/>
              <a:gd name="connsiteX1080" fmla="*/ 1412388 w 4439724"/>
              <a:gd name="connsiteY1080" fmla="*/ 2378579 h 4420427"/>
              <a:gd name="connsiteX1081" fmla="*/ 1408102 w 4439724"/>
              <a:gd name="connsiteY1081" fmla="*/ 2395737 h 4420427"/>
              <a:gd name="connsiteX1082" fmla="*/ 1401672 w 4439724"/>
              <a:gd name="connsiteY1082" fmla="*/ 2417185 h 4420427"/>
              <a:gd name="connsiteX1083" fmla="*/ 1393099 w 4439724"/>
              <a:gd name="connsiteY1083" fmla="*/ 2440778 h 4420427"/>
              <a:gd name="connsiteX1084" fmla="*/ 1388813 w 4439724"/>
              <a:gd name="connsiteY1084" fmla="*/ 2460081 h 4420427"/>
              <a:gd name="connsiteX1085" fmla="*/ 1386670 w 4439724"/>
              <a:gd name="connsiteY1085" fmla="*/ 2460081 h 4420427"/>
              <a:gd name="connsiteX1086" fmla="*/ 1386670 w 4439724"/>
              <a:gd name="connsiteY1086" fmla="*/ 2462226 h 4420427"/>
              <a:gd name="connsiteX1087" fmla="*/ 1380240 w 4439724"/>
              <a:gd name="connsiteY1087" fmla="*/ 2479384 h 4420427"/>
              <a:gd name="connsiteX1088" fmla="*/ 1369524 w 4439724"/>
              <a:gd name="connsiteY1088" fmla="*/ 2498687 h 4420427"/>
              <a:gd name="connsiteX1089" fmla="*/ 1367381 w 4439724"/>
              <a:gd name="connsiteY1089" fmla="*/ 2502977 h 4420427"/>
              <a:gd name="connsiteX1090" fmla="*/ 1358808 w 4439724"/>
              <a:gd name="connsiteY1090" fmla="*/ 2522280 h 4420427"/>
              <a:gd name="connsiteX1091" fmla="*/ 1352378 w 4439724"/>
              <a:gd name="connsiteY1091" fmla="*/ 2541583 h 4420427"/>
              <a:gd name="connsiteX1092" fmla="*/ 1339519 w 4439724"/>
              <a:gd name="connsiteY1092" fmla="*/ 2560886 h 4420427"/>
              <a:gd name="connsiteX1093" fmla="*/ 1330946 w 4439724"/>
              <a:gd name="connsiteY1093" fmla="*/ 2578045 h 4420427"/>
              <a:gd name="connsiteX1094" fmla="*/ 1328803 w 4439724"/>
              <a:gd name="connsiteY1094" fmla="*/ 2580190 h 4420427"/>
              <a:gd name="connsiteX1095" fmla="*/ 1320230 w 4439724"/>
              <a:gd name="connsiteY1095" fmla="*/ 2595203 h 4420427"/>
              <a:gd name="connsiteX1096" fmla="*/ 1307371 w 4439724"/>
              <a:gd name="connsiteY1096" fmla="*/ 2614506 h 4420427"/>
              <a:gd name="connsiteX1097" fmla="*/ 1285939 w 4439724"/>
              <a:gd name="connsiteY1097" fmla="*/ 2642389 h 4420427"/>
              <a:gd name="connsiteX1098" fmla="*/ 1268793 w 4439724"/>
              <a:gd name="connsiteY1098" fmla="*/ 2668126 h 4420427"/>
              <a:gd name="connsiteX1099" fmla="*/ 1247361 w 4439724"/>
              <a:gd name="connsiteY1099" fmla="*/ 2693864 h 4420427"/>
              <a:gd name="connsiteX1100" fmla="*/ 1225929 w 4439724"/>
              <a:gd name="connsiteY1100" fmla="*/ 2713167 h 4420427"/>
              <a:gd name="connsiteX1101" fmla="*/ 1195924 w 4439724"/>
              <a:gd name="connsiteY1101" fmla="*/ 2741049 h 4420427"/>
              <a:gd name="connsiteX1102" fmla="*/ 1168062 w 4439724"/>
              <a:gd name="connsiteY1102" fmla="*/ 2766787 h 4420427"/>
              <a:gd name="connsiteX1103" fmla="*/ 1135914 w 4439724"/>
              <a:gd name="connsiteY1103" fmla="*/ 2790380 h 4420427"/>
              <a:gd name="connsiteX1104" fmla="*/ 1103765 w 4439724"/>
              <a:gd name="connsiteY1104" fmla="*/ 2811828 h 4420427"/>
              <a:gd name="connsiteX1105" fmla="*/ 1060901 w 4439724"/>
              <a:gd name="connsiteY1105" fmla="*/ 2837565 h 4420427"/>
              <a:gd name="connsiteX1106" fmla="*/ 1015894 w 4439724"/>
              <a:gd name="connsiteY1106" fmla="*/ 2861158 h 4420427"/>
              <a:gd name="connsiteX1107" fmla="*/ 968743 w 4439724"/>
              <a:gd name="connsiteY1107" fmla="*/ 2880461 h 4420427"/>
              <a:gd name="connsiteX1108" fmla="*/ 921592 w 4439724"/>
              <a:gd name="connsiteY1108" fmla="*/ 2893330 h 4420427"/>
              <a:gd name="connsiteX1109" fmla="*/ 874441 w 4439724"/>
              <a:gd name="connsiteY1109" fmla="*/ 2908343 h 4420427"/>
              <a:gd name="connsiteX1110" fmla="*/ 825147 w 4439724"/>
              <a:gd name="connsiteY1110" fmla="*/ 2914778 h 4420427"/>
              <a:gd name="connsiteX1111" fmla="*/ 775853 w 4439724"/>
              <a:gd name="connsiteY1111" fmla="*/ 2921212 h 4420427"/>
              <a:gd name="connsiteX1112" fmla="*/ 724416 w 4439724"/>
              <a:gd name="connsiteY1112" fmla="*/ 2921212 h 4420427"/>
              <a:gd name="connsiteX1113" fmla="*/ 687982 w 4439724"/>
              <a:gd name="connsiteY1113" fmla="*/ 2921212 h 4420427"/>
              <a:gd name="connsiteX1114" fmla="*/ 651547 w 4439724"/>
              <a:gd name="connsiteY1114" fmla="*/ 2919067 h 4420427"/>
              <a:gd name="connsiteX1115" fmla="*/ 619399 w 4439724"/>
              <a:gd name="connsiteY1115" fmla="*/ 2914778 h 4420427"/>
              <a:gd name="connsiteX1116" fmla="*/ 585107 w 4439724"/>
              <a:gd name="connsiteY1116" fmla="*/ 2908343 h 4420427"/>
              <a:gd name="connsiteX1117" fmla="*/ 548673 w 4439724"/>
              <a:gd name="connsiteY1117" fmla="*/ 2899764 h 4420427"/>
              <a:gd name="connsiteX1118" fmla="*/ 516524 w 4439724"/>
              <a:gd name="connsiteY1118" fmla="*/ 2891185 h 4420427"/>
              <a:gd name="connsiteX1119" fmla="*/ 484376 w 4439724"/>
              <a:gd name="connsiteY1119" fmla="*/ 2880461 h 4420427"/>
              <a:gd name="connsiteX1120" fmla="*/ 452228 w 4439724"/>
              <a:gd name="connsiteY1120" fmla="*/ 2867592 h 4420427"/>
              <a:gd name="connsiteX1121" fmla="*/ 432939 w 4439724"/>
              <a:gd name="connsiteY1121" fmla="*/ 2859013 h 4420427"/>
              <a:gd name="connsiteX1122" fmla="*/ 411507 w 4439724"/>
              <a:gd name="connsiteY1122" fmla="*/ 2848289 h 4420427"/>
              <a:gd name="connsiteX1123" fmla="*/ 383645 w 4439724"/>
              <a:gd name="connsiteY1123" fmla="*/ 2835420 h 4420427"/>
              <a:gd name="connsiteX1124" fmla="*/ 360070 w 4439724"/>
              <a:gd name="connsiteY1124" fmla="*/ 2820407 h 4420427"/>
              <a:gd name="connsiteX1125" fmla="*/ 334351 w 4439724"/>
              <a:gd name="connsiteY1125" fmla="*/ 2807538 h 4420427"/>
              <a:gd name="connsiteX1126" fmla="*/ 310776 w 4439724"/>
              <a:gd name="connsiteY1126" fmla="*/ 2790380 h 4420427"/>
              <a:gd name="connsiteX1127" fmla="*/ 287200 w 4439724"/>
              <a:gd name="connsiteY1127" fmla="*/ 2773221 h 4420427"/>
              <a:gd name="connsiteX1128" fmla="*/ 265768 w 4439724"/>
              <a:gd name="connsiteY1128" fmla="*/ 2753918 h 4420427"/>
              <a:gd name="connsiteX1129" fmla="*/ 244336 w 4439724"/>
              <a:gd name="connsiteY1129" fmla="*/ 2734615 h 4420427"/>
              <a:gd name="connsiteX1130" fmla="*/ 220761 w 4439724"/>
              <a:gd name="connsiteY1130" fmla="*/ 2713167 h 4420427"/>
              <a:gd name="connsiteX1131" fmla="*/ 197185 w 4439724"/>
              <a:gd name="connsiteY1131" fmla="*/ 2687429 h 4420427"/>
              <a:gd name="connsiteX1132" fmla="*/ 173610 w 4439724"/>
              <a:gd name="connsiteY1132" fmla="*/ 2661692 h 4420427"/>
              <a:gd name="connsiteX1133" fmla="*/ 152178 w 4439724"/>
              <a:gd name="connsiteY1133" fmla="*/ 2633809 h 4420427"/>
              <a:gd name="connsiteX1134" fmla="*/ 132889 w 4439724"/>
              <a:gd name="connsiteY1134" fmla="*/ 2605927 h 4420427"/>
              <a:gd name="connsiteX1135" fmla="*/ 113600 w 4439724"/>
              <a:gd name="connsiteY1135" fmla="*/ 2575900 h 4420427"/>
              <a:gd name="connsiteX1136" fmla="*/ 96454 w 4439724"/>
              <a:gd name="connsiteY1136" fmla="*/ 2545873 h 4420427"/>
              <a:gd name="connsiteX1137" fmla="*/ 81452 w 4439724"/>
              <a:gd name="connsiteY1137" fmla="*/ 2515846 h 4420427"/>
              <a:gd name="connsiteX1138" fmla="*/ 66449 w 4439724"/>
              <a:gd name="connsiteY1138" fmla="*/ 2483674 h 4420427"/>
              <a:gd name="connsiteX1139" fmla="*/ 55733 w 4439724"/>
              <a:gd name="connsiteY1139" fmla="*/ 2449357 h 4420427"/>
              <a:gd name="connsiteX1140" fmla="*/ 42874 w 4439724"/>
              <a:gd name="connsiteY1140" fmla="*/ 2417185 h 4420427"/>
              <a:gd name="connsiteX1141" fmla="*/ 34301 w 4439724"/>
              <a:gd name="connsiteY1141" fmla="*/ 2385013 h 4420427"/>
              <a:gd name="connsiteX1142" fmla="*/ 27872 w 4439724"/>
              <a:gd name="connsiteY1142" fmla="*/ 2350696 h 4420427"/>
              <a:gd name="connsiteX1143" fmla="*/ 19299 w 4439724"/>
              <a:gd name="connsiteY1143" fmla="*/ 2316380 h 4420427"/>
              <a:gd name="connsiteX1144" fmla="*/ 17156 w 4439724"/>
              <a:gd name="connsiteY1144" fmla="*/ 2282063 h 4420427"/>
              <a:gd name="connsiteX1145" fmla="*/ 12869 w 4439724"/>
              <a:gd name="connsiteY1145" fmla="*/ 2247746 h 4420427"/>
              <a:gd name="connsiteX1146" fmla="*/ 12869 w 4439724"/>
              <a:gd name="connsiteY1146" fmla="*/ 2213430 h 4420427"/>
              <a:gd name="connsiteX1147" fmla="*/ 12869 w 4439724"/>
              <a:gd name="connsiteY1147" fmla="*/ 2174823 h 4420427"/>
              <a:gd name="connsiteX1148" fmla="*/ 17156 w 4439724"/>
              <a:gd name="connsiteY1148" fmla="*/ 2140506 h 4420427"/>
              <a:gd name="connsiteX1149" fmla="*/ 19299 w 4439724"/>
              <a:gd name="connsiteY1149" fmla="*/ 2104045 h 4420427"/>
              <a:gd name="connsiteX1150" fmla="*/ 27872 w 4439724"/>
              <a:gd name="connsiteY1150" fmla="*/ 2071873 h 4420427"/>
              <a:gd name="connsiteX1151" fmla="*/ 34301 w 4439724"/>
              <a:gd name="connsiteY1151" fmla="*/ 2039701 h 4420427"/>
              <a:gd name="connsiteX1152" fmla="*/ 42874 w 4439724"/>
              <a:gd name="connsiteY1152" fmla="*/ 2003240 h 4420427"/>
              <a:gd name="connsiteX1153" fmla="*/ 55733 w 4439724"/>
              <a:gd name="connsiteY1153" fmla="*/ 1966778 h 4420427"/>
              <a:gd name="connsiteX1154" fmla="*/ 66449 w 4439724"/>
              <a:gd name="connsiteY1154" fmla="*/ 1936751 h 4420427"/>
              <a:gd name="connsiteX1155" fmla="*/ 81452 w 4439724"/>
              <a:gd name="connsiteY1155" fmla="*/ 1904579 h 4420427"/>
              <a:gd name="connsiteX1156" fmla="*/ 96454 w 4439724"/>
              <a:gd name="connsiteY1156" fmla="*/ 1874552 h 4420427"/>
              <a:gd name="connsiteX1157" fmla="*/ 113600 w 4439724"/>
              <a:gd name="connsiteY1157" fmla="*/ 1846670 h 4420427"/>
              <a:gd name="connsiteX1158" fmla="*/ 132889 w 4439724"/>
              <a:gd name="connsiteY1158" fmla="*/ 1816642 h 4420427"/>
              <a:gd name="connsiteX1159" fmla="*/ 152178 w 4439724"/>
              <a:gd name="connsiteY1159" fmla="*/ 1788760 h 4420427"/>
              <a:gd name="connsiteX1160" fmla="*/ 173610 w 4439724"/>
              <a:gd name="connsiteY1160" fmla="*/ 1763022 h 4420427"/>
              <a:gd name="connsiteX1161" fmla="*/ 197185 w 4439724"/>
              <a:gd name="connsiteY1161" fmla="*/ 1735140 h 4420427"/>
              <a:gd name="connsiteX1162" fmla="*/ 220761 w 4439724"/>
              <a:gd name="connsiteY1162" fmla="*/ 1709403 h 4420427"/>
              <a:gd name="connsiteX1163" fmla="*/ 242193 w 4439724"/>
              <a:gd name="connsiteY1163" fmla="*/ 1690099 h 4420427"/>
              <a:gd name="connsiteX1164" fmla="*/ 267911 w 4439724"/>
              <a:gd name="connsiteY1164" fmla="*/ 1666507 h 4420427"/>
              <a:gd name="connsiteX1165" fmla="*/ 293630 w 4439724"/>
              <a:gd name="connsiteY1165" fmla="*/ 1647204 h 4420427"/>
              <a:gd name="connsiteX1166" fmla="*/ 321492 w 4439724"/>
              <a:gd name="connsiteY1166" fmla="*/ 1625756 h 4420427"/>
              <a:gd name="connsiteX1167" fmla="*/ 323635 w 4439724"/>
              <a:gd name="connsiteY1167" fmla="*/ 1625756 h 4420427"/>
              <a:gd name="connsiteX1168" fmla="*/ 330065 w 4439724"/>
              <a:gd name="connsiteY1168" fmla="*/ 1619321 h 4420427"/>
              <a:gd name="connsiteX1169" fmla="*/ 338638 w 4439724"/>
              <a:gd name="connsiteY1169" fmla="*/ 1615032 h 4420427"/>
              <a:gd name="connsiteX1170" fmla="*/ 347210 w 4439724"/>
              <a:gd name="connsiteY1170" fmla="*/ 1610742 h 4420427"/>
              <a:gd name="connsiteX1171" fmla="*/ 357927 w 4439724"/>
              <a:gd name="connsiteY1171" fmla="*/ 1604308 h 4420427"/>
              <a:gd name="connsiteX1172" fmla="*/ 375072 w 4439724"/>
              <a:gd name="connsiteY1172" fmla="*/ 1593584 h 4420427"/>
              <a:gd name="connsiteX1173" fmla="*/ 392218 w 4439724"/>
              <a:gd name="connsiteY1173" fmla="*/ 1585004 h 4420427"/>
              <a:gd name="connsiteX1174" fmla="*/ 411507 w 4439724"/>
              <a:gd name="connsiteY1174" fmla="*/ 1576425 h 4420427"/>
              <a:gd name="connsiteX1175" fmla="*/ 432939 w 4439724"/>
              <a:gd name="connsiteY1175" fmla="*/ 1565701 h 4420427"/>
              <a:gd name="connsiteX1176" fmla="*/ 443655 w 4439724"/>
              <a:gd name="connsiteY1176" fmla="*/ 1559267 h 4420427"/>
              <a:gd name="connsiteX1177" fmla="*/ 452228 w 4439724"/>
              <a:gd name="connsiteY1177" fmla="*/ 1557122 h 4420427"/>
              <a:gd name="connsiteX1178" fmla="*/ 462944 w 4439724"/>
              <a:gd name="connsiteY1178" fmla="*/ 1550688 h 4420427"/>
              <a:gd name="connsiteX1179" fmla="*/ 475803 w 4439724"/>
              <a:gd name="connsiteY1179" fmla="*/ 1548543 h 4420427"/>
              <a:gd name="connsiteX1180" fmla="*/ 480090 w 4439724"/>
              <a:gd name="connsiteY1180" fmla="*/ 1544253 h 4420427"/>
              <a:gd name="connsiteX1181" fmla="*/ 488663 w 4439724"/>
              <a:gd name="connsiteY1181" fmla="*/ 1542109 h 4420427"/>
              <a:gd name="connsiteX1182" fmla="*/ 497235 w 4439724"/>
              <a:gd name="connsiteY1182" fmla="*/ 1537819 h 4420427"/>
              <a:gd name="connsiteX1183" fmla="*/ 499379 w 4439724"/>
              <a:gd name="connsiteY1183" fmla="*/ 1537819 h 4420427"/>
              <a:gd name="connsiteX1184" fmla="*/ 525097 w 4439724"/>
              <a:gd name="connsiteY1184" fmla="*/ 1531385 h 4420427"/>
              <a:gd name="connsiteX1185" fmla="*/ 555102 w 4439724"/>
              <a:gd name="connsiteY1185" fmla="*/ 1524950 h 4420427"/>
              <a:gd name="connsiteX1186" fmla="*/ 565818 w 4439724"/>
              <a:gd name="connsiteY1186" fmla="*/ 1518516 h 4420427"/>
              <a:gd name="connsiteX1187" fmla="*/ 572248 w 4439724"/>
              <a:gd name="connsiteY1187" fmla="*/ 1516371 h 4420427"/>
              <a:gd name="connsiteX1188" fmla="*/ 582964 w 4439724"/>
              <a:gd name="connsiteY1188" fmla="*/ 1514226 h 4420427"/>
              <a:gd name="connsiteX1189" fmla="*/ 593680 w 4439724"/>
              <a:gd name="connsiteY1189" fmla="*/ 1512081 h 4420427"/>
              <a:gd name="connsiteX1190" fmla="*/ 604396 w 4439724"/>
              <a:gd name="connsiteY1190" fmla="*/ 1512081 h 4420427"/>
              <a:gd name="connsiteX1191" fmla="*/ 730846 w 4439724"/>
              <a:gd name="connsiteY1191" fmla="*/ 1503502 h 4420427"/>
              <a:gd name="connsiteX1192" fmla="*/ 739419 w 4439724"/>
              <a:gd name="connsiteY1192" fmla="*/ 1503502 h 4420427"/>
              <a:gd name="connsiteX1193" fmla="*/ 750135 w 4439724"/>
              <a:gd name="connsiteY1193" fmla="*/ 1503502 h 4420427"/>
              <a:gd name="connsiteX1194" fmla="*/ 769424 w 4439724"/>
              <a:gd name="connsiteY1194" fmla="*/ 1503502 h 4420427"/>
              <a:gd name="connsiteX1195" fmla="*/ 784426 w 4439724"/>
              <a:gd name="connsiteY1195" fmla="*/ 1505647 h 4420427"/>
              <a:gd name="connsiteX1196" fmla="*/ 797286 w 4439724"/>
              <a:gd name="connsiteY1196" fmla="*/ 1507792 h 4420427"/>
              <a:gd name="connsiteX1197" fmla="*/ 814431 w 4439724"/>
              <a:gd name="connsiteY1197" fmla="*/ 1509937 h 4420427"/>
              <a:gd name="connsiteX1198" fmla="*/ 818718 w 4439724"/>
              <a:gd name="connsiteY1198" fmla="*/ 1509937 h 4420427"/>
              <a:gd name="connsiteX1199" fmla="*/ 823004 w 4439724"/>
              <a:gd name="connsiteY1199" fmla="*/ 1509937 h 4420427"/>
              <a:gd name="connsiteX1200" fmla="*/ 833720 w 4439724"/>
              <a:gd name="connsiteY1200" fmla="*/ 1509937 h 4420427"/>
              <a:gd name="connsiteX1201" fmla="*/ 842293 w 4439724"/>
              <a:gd name="connsiteY1201" fmla="*/ 1512081 h 4420427"/>
              <a:gd name="connsiteX1202" fmla="*/ 848723 w 4439724"/>
              <a:gd name="connsiteY1202" fmla="*/ 1512081 h 4420427"/>
              <a:gd name="connsiteX1203" fmla="*/ 850866 w 4439724"/>
              <a:gd name="connsiteY1203" fmla="*/ 1512081 h 4420427"/>
              <a:gd name="connsiteX1204" fmla="*/ 853009 w 4439724"/>
              <a:gd name="connsiteY1204" fmla="*/ 1512081 h 4420427"/>
              <a:gd name="connsiteX1205" fmla="*/ 859439 w 4439724"/>
              <a:gd name="connsiteY1205" fmla="*/ 1512081 h 4420427"/>
              <a:gd name="connsiteX1206" fmla="*/ 891587 w 4439724"/>
              <a:gd name="connsiteY1206" fmla="*/ 1509937 h 4420427"/>
              <a:gd name="connsiteX1207" fmla="*/ 921592 w 4439724"/>
              <a:gd name="connsiteY1207" fmla="*/ 1507792 h 4420427"/>
              <a:gd name="connsiteX1208" fmla="*/ 955884 w 4439724"/>
              <a:gd name="connsiteY1208" fmla="*/ 1503502 h 4420427"/>
              <a:gd name="connsiteX1209" fmla="*/ 985889 w 4439724"/>
              <a:gd name="connsiteY1209" fmla="*/ 1499213 h 4420427"/>
              <a:gd name="connsiteX1210" fmla="*/ 1015894 w 4439724"/>
              <a:gd name="connsiteY1210" fmla="*/ 1490633 h 4420427"/>
              <a:gd name="connsiteX1211" fmla="*/ 1048042 w 4439724"/>
              <a:gd name="connsiteY1211" fmla="*/ 1482054 h 4420427"/>
              <a:gd name="connsiteX1212" fmla="*/ 1078047 w 4439724"/>
              <a:gd name="connsiteY1212" fmla="*/ 1471330 h 4420427"/>
              <a:gd name="connsiteX1213" fmla="*/ 1110195 w 4439724"/>
              <a:gd name="connsiteY1213" fmla="*/ 1458462 h 4420427"/>
              <a:gd name="connsiteX1214" fmla="*/ 1127341 w 4439724"/>
              <a:gd name="connsiteY1214" fmla="*/ 1449882 h 4420427"/>
              <a:gd name="connsiteX1215" fmla="*/ 1146630 w 4439724"/>
              <a:gd name="connsiteY1215" fmla="*/ 1439158 h 4420427"/>
              <a:gd name="connsiteX1216" fmla="*/ 1195924 w 4439724"/>
              <a:gd name="connsiteY1216" fmla="*/ 1413421 h 4420427"/>
              <a:gd name="connsiteX1217" fmla="*/ 1240931 w 4439724"/>
              <a:gd name="connsiteY1217" fmla="*/ 1381249 h 4420427"/>
              <a:gd name="connsiteX1218" fmla="*/ 1283795 w 4439724"/>
              <a:gd name="connsiteY1218" fmla="*/ 1349077 h 4420427"/>
              <a:gd name="connsiteX1219" fmla="*/ 1324517 w 4439724"/>
              <a:gd name="connsiteY1219" fmla="*/ 1310471 h 4420427"/>
              <a:gd name="connsiteX1220" fmla="*/ 1326660 w 4439724"/>
              <a:gd name="connsiteY1220" fmla="*/ 1310471 h 4420427"/>
              <a:gd name="connsiteX1221" fmla="*/ 1352378 w 4439724"/>
              <a:gd name="connsiteY1221" fmla="*/ 1280443 h 4420427"/>
              <a:gd name="connsiteX1222" fmla="*/ 1375954 w 4439724"/>
              <a:gd name="connsiteY1222" fmla="*/ 1250416 h 4420427"/>
              <a:gd name="connsiteX1223" fmla="*/ 1395243 w 4439724"/>
              <a:gd name="connsiteY1223" fmla="*/ 1222534 h 4420427"/>
              <a:gd name="connsiteX1224" fmla="*/ 1416675 w 4439724"/>
              <a:gd name="connsiteY1224" fmla="*/ 1190362 h 4420427"/>
              <a:gd name="connsiteX1225" fmla="*/ 1438107 w 4439724"/>
              <a:gd name="connsiteY1225" fmla="*/ 1151756 h 4420427"/>
              <a:gd name="connsiteX1226" fmla="*/ 1459539 w 4439724"/>
              <a:gd name="connsiteY1226" fmla="*/ 1111005 h 4420427"/>
              <a:gd name="connsiteX1227" fmla="*/ 1474542 w 4439724"/>
              <a:gd name="connsiteY1227" fmla="*/ 1070253 h 4420427"/>
              <a:gd name="connsiteX1228" fmla="*/ 1489544 w 4439724"/>
              <a:gd name="connsiteY1228" fmla="*/ 1025213 h 4420427"/>
              <a:gd name="connsiteX1229" fmla="*/ 1498117 w 4439724"/>
              <a:gd name="connsiteY1229" fmla="*/ 980172 h 4420427"/>
              <a:gd name="connsiteX1230" fmla="*/ 1508833 w 4439724"/>
              <a:gd name="connsiteY1230" fmla="*/ 937276 h 4420427"/>
              <a:gd name="connsiteX1231" fmla="*/ 1510976 w 4439724"/>
              <a:gd name="connsiteY1231" fmla="*/ 892235 h 4420427"/>
              <a:gd name="connsiteX1232" fmla="*/ 1513119 w 4439724"/>
              <a:gd name="connsiteY1232" fmla="*/ 847195 h 4420427"/>
              <a:gd name="connsiteX1233" fmla="*/ 1510976 w 4439724"/>
              <a:gd name="connsiteY1233" fmla="*/ 832181 h 4420427"/>
              <a:gd name="connsiteX1234" fmla="*/ 1508833 w 4439724"/>
              <a:gd name="connsiteY1234" fmla="*/ 815023 h 4420427"/>
              <a:gd name="connsiteX1235" fmla="*/ 1508833 w 4439724"/>
              <a:gd name="connsiteY1235" fmla="*/ 812878 h 4420427"/>
              <a:gd name="connsiteX1236" fmla="*/ 1508833 w 4439724"/>
              <a:gd name="connsiteY1236" fmla="*/ 806444 h 4420427"/>
              <a:gd name="connsiteX1237" fmla="*/ 1508833 w 4439724"/>
              <a:gd name="connsiteY1237" fmla="*/ 804299 h 4420427"/>
              <a:gd name="connsiteX1238" fmla="*/ 1506690 w 4439724"/>
              <a:gd name="connsiteY1238" fmla="*/ 789285 h 4420427"/>
              <a:gd name="connsiteX1239" fmla="*/ 1506690 w 4439724"/>
              <a:gd name="connsiteY1239" fmla="*/ 787140 h 4420427"/>
              <a:gd name="connsiteX1240" fmla="*/ 1504547 w 4439724"/>
              <a:gd name="connsiteY1240" fmla="*/ 767837 h 4420427"/>
              <a:gd name="connsiteX1241" fmla="*/ 1504547 w 4439724"/>
              <a:gd name="connsiteY1241" fmla="*/ 757113 h 4420427"/>
              <a:gd name="connsiteX1242" fmla="*/ 1504547 w 4439724"/>
              <a:gd name="connsiteY1242" fmla="*/ 742100 h 4420427"/>
              <a:gd name="connsiteX1243" fmla="*/ 1504547 w 4439724"/>
              <a:gd name="connsiteY1243" fmla="*/ 731376 h 4420427"/>
              <a:gd name="connsiteX1244" fmla="*/ 1504547 w 4439724"/>
              <a:gd name="connsiteY1244" fmla="*/ 729231 h 4420427"/>
              <a:gd name="connsiteX1245" fmla="*/ 1510976 w 4439724"/>
              <a:gd name="connsiteY1245" fmla="*/ 611267 h 4420427"/>
              <a:gd name="connsiteX1246" fmla="*/ 1510976 w 4439724"/>
              <a:gd name="connsiteY1246" fmla="*/ 609122 h 4420427"/>
              <a:gd name="connsiteX1247" fmla="*/ 1510976 w 4439724"/>
              <a:gd name="connsiteY1247" fmla="*/ 600543 h 4420427"/>
              <a:gd name="connsiteX1248" fmla="*/ 1517406 w 4439724"/>
              <a:gd name="connsiteY1248" fmla="*/ 576950 h 4420427"/>
              <a:gd name="connsiteX1249" fmla="*/ 1521692 w 4439724"/>
              <a:gd name="connsiteY1249" fmla="*/ 561937 h 4420427"/>
              <a:gd name="connsiteX1250" fmla="*/ 1519549 w 4439724"/>
              <a:gd name="connsiteY1250" fmla="*/ 561937 h 4420427"/>
              <a:gd name="connsiteX1251" fmla="*/ 1525979 w 4439724"/>
              <a:gd name="connsiteY1251" fmla="*/ 544778 h 4420427"/>
              <a:gd name="connsiteX1252" fmla="*/ 1534552 w 4439724"/>
              <a:gd name="connsiteY1252" fmla="*/ 516896 h 4420427"/>
              <a:gd name="connsiteX1253" fmla="*/ 1540981 w 4439724"/>
              <a:gd name="connsiteY1253" fmla="*/ 491159 h 4420427"/>
              <a:gd name="connsiteX1254" fmla="*/ 1547411 w 4439724"/>
              <a:gd name="connsiteY1254" fmla="*/ 474000 h 4420427"/>
              <a:gd name="connsiteX1255" fmla="*/ 1553841 w 4439724"/>
              <a:gd name="connsiteY1255" fmla="*/ 452552 h 4420427"/>
              <a:gd name="connsiteX1256" fmla="*/ 1564557 w 4439724"/>
              <a:gd name="connsiteY1256" fmla="*/ 437539 h 4420427"/>
              <a:gd name="connsiteX1257" fmla="*/ 1564557 w 4439724"/>
              <a:gd name="connsiteY1257" fmla="*/ 433249 h 4420427"/>
              <a:gd name="connsiteX1258" fmla="*/ 1573129 w 4439724"/>
              <a:gd name="connsiteY1258" fmla="*/ 416091 h 4420427"/>
              <a:gd name="connsiteX1259" fmla="*/ 1583846 w 4439724"/>
              <a:gd name="connsiteY1259" fmla="*/ 394643 h 4420427"/>
              <a:gd name="connsiteX1260" fmla="*/ 1596705 w 4439724"/>
              <a:gd name="connsiteY1260" fmla="*/ 371050 h 4420427"/>
              <a:gd name="connsiteX1261" fmla="*/ 1603134 w 4439724"/>
              <a:gd name="connsiteY1261" fmla="*/ 358181 h 4420427"/>
              <a:gd name="connsiteX1262" fmla="*/ 1605278 w 4439724"/>
              <a:gd name="connsiteY1262" fmla="*/ 358181 h 4420427"/>
              <a:gd name="connsiteX1263" fmla="*/ 1605278 w 4439724"/>
              <a:gd name="connsiteY1263" fmla="*/ 353892 h 4420427"/>
              <a:gd name="connsiteX1264" fmla="*/ 1607421 w 4439724"/>
              <a:gd name="connsiteY1264" fmla="*/ 349602 h 4420427"/>
              <a:gd name="connsiteX1265" fmla="*/ 1615994 w 4439724"/>
              <a:gd name="connsiteY1265" fmla="*/ 338878 h 4420427"/>
              <a:gd name="connsiteX1266" fmla="*/ 1626710 w 4439724"/>
              <a:gd name="connsiteY1266" fmla="*/ 321720 h 4420427"/>
              <a:gd name="connsiteX1267" fmla="*/ 1626710 w 4439724"/>
              <a:gd name="connsiteY1267" fmla="*/ 319575 h 4420427"/>
              <a:gd name="connsiteX1268" fmla="*/ 1648142 w 4439724"/>
              <a:gd name="connsiteY1268" fmla="*/ 291693 h 4420427"/>
              <a:gd name="connsiteX1269" fmla="*/ 1667431 w 4439724"/>
              <a:gd name="connsiteY1269" fmla="*/ 265955 h 4420427"/>
              <a:gd name="connsiteX1270" fmla="*/ 1688863 w 4439724"/>
              <a:gd name="connsiteY1270" fmla="*/ 242362 h 4420427"/>
              <a:gd name="connsiteX1271" fmla="*/ 1708152 w 4439724"/>
              <a:gd name="connsiteY1271" fmla="*/ 220914 h 4420427"/>
              <a:gd name="connsiteX1272" fmla="*/ 1736014 w 4439724"/>
              <a:gd name="connsiteY1272" fmla="*/ 195177 h 4420427"/>
              <a:gd name="connsiteX1273" fmla="*/ 1768162 w 4439724"/>
              <a:gd name="connsiteY1273" fmla="*/ 169439 h 4420427"/>
              <a:gd name="connsiteX1274" fmla="*/ 1800310 w 4439724"/>
              <a:gd name="connsiteY1274" fmla="*/ 143702 h 4420427"/>
              <a:gd name="connsiteX1275" fmla="*/ 1830315 w 4439724"/>
              <a:gd name="connsiteY1275" fmla="*/ 122254 h 4420427"/>
              <a:gd name="connsiteX1276" fmla="*/ 1875323 w 4439724"/>
              <a:gd name="connsiteY1276" fmla="*/ 96516 h 4420427"/>
              <a:gd name="connsiteX1277" fmla="*/ 1918187 w 4439724"/>
              <a:gd name="connsiteY1277" fmla="*/ 75068 h 4420427"/>
              <a:gd name="connsiteX1278" fmla="*/ 1965338 w 4439724"/>
              <a:gd name="connsiteY1278" fmla="*/ 55765 h 4420427"/>
              <a:gd name="connsiteX1279" fmla="*/ 2012489 w 4439724"/>
              <a:gd name="connsiteY1279" fmla="*/ 40751 h 4420427"/>
              <a:gd name="connsiteX1280" fmla="*/ 2061783 w 4439724"/>
              <a:gd name="connsiteY1280" fmla="*/ 27883 h 4420427"/>
              <a:gd name="connsiteX1281" fmla="*/ 2111077 w 4439724"/>
              <a:gd name="connsiteY1281" fmla="*/ 19303 h 4420427"/>
              <a:gd name="connsiteX1282" fmla="*/ 2160370 w 4439724"/>
              <a:gd name="connsiteY1282" fmla="*/ 15014 h 4420427"/>
              <a:gd name="connsiteX1283" fmla="*/ 709926 w 4439724"/>
              <a:gd name="connsiteY1283" fmla="*/ 0 h 4420427"/>
              <a:gd name="connsiteX1284" fmla="*/ 712071 w 4439724"/>
              <a:gd name="connsiteY1284" fmla="*/ 0 h 4420427"/>
              <a:gd name="connsiteX1285" fmla="*/ 759257 w 4439724"/>
              <a:gd name="connsiteY1285" fmla="*/ 4302 h 4420427"/>
              <a:gd name="connsiteX1286" fmla="*/ 806442 w 4439724"/>
              <a:gd name="connsiteY1286" fmla="*/ 8605 h 4420427"/>
              <a:gd name="connsiteX1287" fmla="*/ 851483 w 4439724"/>
              <a:gd name="connsiteY1287" fmla="*/ 15059 h 4420427"/>
              <a:gd name="connsiteX1288" fmla="*/ 896523 w 4439724"/>
              <a:gd name="connsiteY1288" fmla="*/ 25815 h 4420427"/>
              <a:gd name="connsiteX1289" fmla="*/ 922261 w 4439724"/>
              <a:gd name="connsiteY1289" fmla="*/ 34420 h 4420427"/>
              <a:gd name="connsiteX1290" fmla="*/ 954433 w 4439724"/>
              <a:gd name="connsiteY1290" fmla="*/ 43025 h 4420427"/>
              <a:gd name="connsiteX1291" fmla="*/ 990894 w 4439724"/>
              <a:gd name="connsiteY1291" fmla="*/ 58084 h 4420427"/>
              <a:gd name="connsiteX1292" fmla="*/ 1025211 w 4439724"/>
              <a:gd name="connsiteY1292" fmla="*/ 73143 h 4420427"/>
              <a:gd name="connsiteX1293" fmla="*/ 1059528 w 4439724"/>
              <a:gd name="connsiteY1293" fmla="*/ 92504 h 4420427"/>
              <a:gd name="connsiteX1294" fmla="*/ 1091700 w 4439724"/>
              <a:gd name="connsiteY1294" fmla="*/ 114017 h 4420427"/>
              <a:gd name="connsiteX1295" fmla="*/ 1123872 w 4439724"/>
              <a:gd name="connsiteY1295" fmla="*/ 133378 h 4420427"/>
              <a:gd name="connsiteX1296" fmla="*/ 1156043 w 4439724"/>
              <a:gd name="connsiteY1296" fmla="*/ 157042 h 4420427"/>
              <a:gd name="connsiteX1297" fmla="*/ 1183926 w 4439724"/>
              <a:gd name="connsiteY1297" fmla="*/ 182857 h 4420427"/>
              <a:gd name="connsiteX1298" fmla="*/ 1213953 w 4439724"/>
              <a:gd name="connsiteY1298" fmla="*/ 210823 h 4420427"/>
              <a:gd name="connsiteX1299" fmla="*/ 1213953 w 4439724"/>
              <a:gd name="connsiteY1299" fmla="*/ 208672 h 4420427"/>
              <a:gd name="connsiteX1300" fmla="*/ 1239690 w 4439724"/>
              <a:gd name="connsiteY1300" fmla="*/ 236638 h 4420427"/>
              <a:gd name="connsiteX1301" fmla="*/ 1265428 w 4439724"/>
              <a:gd name="connsiteY1301" fmla="*/ 271058 h 4420427"/>
              <a:gd name="connsiteX1302" fmla="*/ 1291165 w 4439724"/>
              <a:gd name="connsiteY1302" fmla="*/ 301176 h 4420427"/>
              <a:gd name="connsiteX1303" fmla="*/ 1312613 w 4439724"/>
              <a:gd name="connsiteY1303" fmla="*/ 333445 h 4420427"/>
              <a:gd name="connsiteX1304" fmla="*/ 1338351 w 4439724"/>
              <a:gd name="connsiteY1304" fmla="*/ 376470 h 4420427"/>
              <a:gd name="connsiteX1305" fmla="*/ 1359799 w 4439724"/>
              <a:gd name="connsiteY1305" fmla="*/ 421646 h 4420427"/>
              <a:gd name="connsiteX1306" fmla="*/ 1379102 w 4439724"/>
              <a:gd name="connsiteY1306" fmla="*/ 466823 h 4420427"/>
              <a:gd name="connsiteX1307" fmla="*/ 1394115 w 4439724"/>
              <a:gd name="connsiteY1307" fmla="*/ 516302 h 4420427"/>
              <a:gd name="connsiteX1308" fmla="*/ 1406984 w 4439724"/>
              <a:gd name="connsiteY1308" fmla="*/ 563629 h 4420427"/>
              <a:gd name="connsiteX1309" fmla="*/ 1415563 w 4439724"/>
              <a:gd name="connsiteY1309" fmla="*/ 613108 h 4420427"/>
              <a:gd name="connsiteX1310" fmla="*/ 1419853 w 4439724"/>
              <a:gd name="connsiteY1310" fmla="*/ 662587 h 4420427"/>
              <a:gd name="connsiteX1311" fmla="*/ 1421998 w 4439724"/>
              <a:gd name="connsiteY1311" fmla="*/ 714217 h 4420427"/>
              <a:gd name="connsiteX1312" fmla="*/ 1421998 w 4439724"/>
              <a:gd name="connsiteY1312" fmla="*/ 750789 h 4420427"/>
              <a:gd name="connsiteX1313" fmla="*/ 1417708 w 4439724"/>
              <a:gd name="connsiteY1313" fmla="*/ 785209 h 4420427"/>
              <a:gd name="connsiteX1314" fmla="*/ 1415563 w 4439724"/>
              <a:gd name="connsiteY1314" fmla="*/ 819629 h 4420427"/>
              <a:gd name="connsiteX1315" fmla="*/ 1409129 w 4439724"/>
              <a:gd name="connsiteY1315" fmla="*/ 856200 h 4420427"/>
              <a:gd name="connsiteX1316" fmla="*/ 1402695 w 4439724"/>
              <a:gd name="connsiteY1316" fmla="*/ 890620 h 4420427"/>
              <a:gd name="connsiteX1317" fmla="*/ 1391971 w 4439724"/>
              <a:gd name="connsiteY1317" fmla="*/ 922889 h 4420427"/>
              <a:gd name="connsiteX1318" fmla="*/ 1381247 w 4439724"/>
              <a:gd name="connsiteY1318" fmla="*/ 955158 h 4420427"/>
              <a:gd name="connsiteX1319" fmla="*/ 1368378 w 4439724"/>
              <a:gd name="connsiteY1319" fmla="*/ 989578 h 4420427"/>
              <a:gd name="connsiteX1320" fmla="*/ 1361944 w 4439724"/>
              <a:gd name="connsiteY1320" fmla="*/ 1004637 h 4420427"/>
              <a:gd name="connsiteX1321" fmla="*/ 1351220 w 4439724"/>
              <a:gd name="connsiteY1321" fmla="*/ 1028301 h 4420427"/>
              <a:gd name="connsiteX1322" fmla="*/ 1336206 w 4439724"/>
              <a:gd name="connsiteY1322" fmla="*/ 1054116 h 4420427"/>
              <a:gd name="connsiteX1323" fmla="*/ 1323337 w 4439724"/>
              <a:gd name="connsiteY1323" fmla="*/ 1079931 h 4420427"/>
              <a:gd name="connsiteX1324" fmla="*/ 1306179 w 4439724"/>
              <a:gd name="connsiteY1324" fmla="*/ 1105746 h 4420427"/>
              <a:gd name="connsiteX1325" fmla="*/ 1289021 w 4439724"/>
              <a:gd name="connsiteY1325" fmla="*/ 1129410 h 4420427"/>
              <a:gd name="connsiteX1326" fmla="*/ 1274007 w 4439724"/>
              <a:gd name="connsiteY1326" fmla="*/ 1153073 h 4420427"/>
              <a:gd name="connsiteX1327" fmla="*/ 1254704 w 4439724"/>
              <a:gd name="connsiteY1327" fmla="*/ 1176737 h 4420427"/>
              <a:gd name="connsiteX1328" fmla="*/ 1235401 w 4439724"/>
              <a:gd name="connsiteY1328" fmla="*/ 1196099 h 4420427"/>
              <a:gd name="connsiteX1329" fmla="*/ 1213953 w 4439724"/>
              <a:gd name="connsiteY1329" fmla="*/ 1217611 h 4420427"/>
              <a:gd name="connsiteX1330" fmla="*/ 1213953 w 4439724"/>
              <a:gd name="connsiteY1330" fmla="*/ 1219762 h 4420427"/>
              <a:gd name="connsiteX1331" fmla="*/ 1183926 w 4439724"/>
              <a:gd name="connsiteY1331" fmla="*/ 1245577 h 4420427"/>
              <a:gd name="connsiteX1332" fmla="*/ 1156043 w 4439724"/>
              <a:gd name="connsiteY1332" fmla="*/ 1271392 h 4420427"/>
              <a:gd name="connsiteX1333" fmla="*/ 1123872 w 4439724"/>
              <a:gd name="connsiteY1333" fmla="*/ 1295056 h 4420427"/>
              <a:gd name="connsiteX1334" fmla="*/ 1091700 w 4439724"/>
              <a:gd name="connsiteY1334" fmla="*/ 1318720 h 4420427"/>
              <a:gd name="connsiteX1335" fmla="*/ 1048804 w 4439724"/>
              <a:gd name="connsiteY1335" fmla="*/ 1342384 h 4420427"/>
              <a:gd name="connsiteX1336" fmla="*/ 1003763 w 4439724"/>
              <a:gd name="connsiteY1336" fmla="*/ 1366048 h 4420427"/>
              <a:gd name="connsiteX1337" fmla="*/ 958722 w 4439724"/>
              <a:gd name="connsiteY1337" fmla="*/ 1383258 h 4420427"/>
              <a:gd name="connsiteX1338" fmla="*/ 911537 w 4439724"/>
              <a:gd name="connsiteY1338" fmla="*/ 1400468 h 4420427"/>
              <a:gd name="connsiteX1339" fmla="*/ 862207 w 4439724"/>
              <a:gd name="connsiteY1339" fmla="*/ 1411224 h 4420427"/>
              <a:gd name="connsiteX1340" fmla="*/ 812877 w 4439724"/>
              <a:gd name="connsiteY1340" fmla="*/ 1421980 h 4420427"/>
              <a:gd name="connsiteX1341" fmla="*/ 761401 w 4439724"/>
              <a:gd name="connsiteY1341" fmla="*/ 1426283 h 4420427"/>
              <a:gd name="connsiteX1342" fmla="*/ 709926 w 4439724"/>
              <a:gd name="connsiteY1342" fmla="*/ 1428434 h 4420427"/>
              <a:gd name="connsiteX1343" fmla="*/ 709926 w 4439724"/>
              <a:gd name="connsiteY1343" fmla="*/ 1426283 h 4420427"/>
              <a:gd name="connsiteX1344" fmla="*/ 675610 w 4439724"/>
              <a:gd name="connsiteY1344" fmla="*/ 1426283 h 4420427"/>
              <a:gd name="connsiteX1345" fmla="*/ 641293 w 4439724"/>
              <a:gd name="connsiteY1345" fmla="*/ 1424132 h 4420427"/>
              <a:gd name="connsiteX1346" fmla="*/ 604832 w 4439724"/>
              <a:gd name="connsiteY1346" fmla="*/ 1419829 h 4420427"/>
              <a:gd name="connsiteX1347" fmla="*/ 570515 w 4439724"/>
              <a:gd name="connsiteY1347" fmla="*/ 1413375 h 4420427"/>
              <a:gd name="connsiteX1348" fmla="*/ 538343 w 4439724"/>
              <a:gd name="connsiteY1348" fmla="*/ 1404770 h 4420427"/>
              <a:gd name="connsiteX1349" fmla="*/ 506171 w 4439724"/>
              <a:gd name="connsiteY1349" fmla="*/ 1396165 h 4420427"/>
              <a:gd name="connsiteX1350" fmla="*/ 469710 w 4439724"/>
              <a:gd name="connsiteY1350" fmla="*/ 1385409 h 4420427"/>
              <a:gd name="connsiteX1351" fmla="*/ 439682 w 4439724"/>
              <a:gd name="connsiteY1351" fmla="*/ 1372502 h 4420427"/>
              <a:gd name="connsiteX1352" fmla="*/ 418235 w 4439724"/>
              <a:gd name="connsiteY1352" fmla="*/ 1366048 h 4420427"/>
              <a:gd name="connsiteX1353" fmla="*/ 398931 w 4439724"/>
              <a:gd name="connsiteY1353" fmla="*/ 1353140 h 4420427"/>
              <a:gd name="connsiteX1354" fmla="*/ 373194 w 4439724"/>
              <a:gd name="connsiteY1354" fmla="*/ 1342384 h 4420427"/>
              <a:gd name="connsiteX1355" fmla="*/ 347456 w 4439724"/>
              <a:gd name="connsiteY1355" fmla="*/ 1325174 h 4420427"/>
              <a:gd name="connsiteX1356" fmla="*/ 321719 w 4439724"/>
              <a:gd name="connsiteY1356" fmla="*/ 1312266 h 4420427"/>
              <a:gd name="connsiteX1357" fmla="*/ 298126 w 4439724"/>
              <a:gd name="connsiteY1357" fmla="*/ 1295056 h 4420427"/>
              <a:gd name="connsiteX1358" fmla="*/ 274533 w 4439724"/>
              <a:gd name="connsiteY1358" fmla="*/ 1275695 h 4420427"/>
              <a:gd name="connsiteX1359" fmla="*/ 250941 w 4439724"/>
              <a:gd name="connsiteY1359" fmla="*/ 1258485 h 4420427"/>
              <a:gd name="connsiteX1360" fmla="*/ 229493 w 4439724"/>
              <a:gd name="connsiteY1360" fmla="*/ 1239124 h 4420427"/>
              <a:gd name="connsiteX1361" fmla="*/ 208045 w 4439724"/>
              <a:gd name="connsiteY1361" fmla="*/ 1217611 h 4420427"/>
              <a:gd name="connsiteX1362" fmla="*/ 182307 w 4439724"/>
              <a:gd name="connsiteY1362" fmla="*/ 1191796 h 4420427"/>
              <a:gd name="connsiteX1363" fmla="*/ 154425 w 4439724"/>
              <a:gd name="connsiteY1363" fmla="*/ 1159527 h 4420427"/>
              <a:gd name="connsiteX1364" fmla="*/ 135122 w 4439724"/>
              <a:gd name="connsiteY1364" fmla="*/ 1129410 h 4420427"/>
              <a:gd name="connsiteX1365" fmla="*/ 111529 w 4439724"/>
              <a:gd name="connsiteY1365" fmla="*/ 1097141 h 4420427"/>
              <a:gd name="connsiteX1366" fmla="*/ 85792 w 4439724"/>
              <a:gd name="connsiteY1366" fmla="*/ 1051964 h 4420427"/>
              <a:gd name="connsiteX1367" fmla="*/ 62199 w 4439724"/>
              <a:gd name="connsiteY1367" fmla="*/ 1006788 h 4420427"/>
              <a:gd name="connsiteX1368" fmla="*/ 42896 w 4439724"/>
              <a:gd name="connsiteY1368" fmla="*/ 959460 h 4420427"/>
              <a:gd name="connsiteX1369" fmla="*/ 30027 w 4439724"/>
              <a:gd name="connsiteY1369" fmla="*/ 914284 h 4420427"/>
              <a:gd name="connsiteX1370" fmla="*/ 15014 w 4439724"/>
              <a:gd name="connsiteY1370" fmla="*/ 864805 h 4420427"/>
              <a:gd name="connsiteX1371" fmla="*/ 8579 w 4439724"/>
              <a:gd name="connsiteY1371" fmla="*/ 815326 h 4420427"/>
              <a:gd name="connsiteX1372" fmla="*/ 0 w 4439724"/>
              <a:gd name="connsiteY1372" fmla="*/ 765847 h 4420427"/>
              <a:gd name="connsiteX1373" fmla="*/ 0 w 4439724"/>
              <a:gd name="connsiteY1373" fmla="*/ 714217 h 4420427"/>
              <a:gd name="connsiteX1374" fmla="*/ 0 w 4439724"/>
              <a:gd name="connsiteY1374" fmla="*/ 679797 h 4420427"/>
              <a:gd name="connsiteX1375" fmla="*/ 4290 w 4439724"/>
              <a:gd name="connsiteY1375" fmla="*/ 645377 h 4420427"/>
              <a:gd name="connsiteX1376" fmla="*/ 8579 w 4439724"/>
              <a:gd name="connsiteY1376" fmla="*/ 608806 h 4420427"/>
              <a:gd name="connsiteX1377" fmla="*/ 15014 w 4439724"/>
              <a:gd name="connsiteY1377" fmla="*/ 574386 h 4420427"/>
              <a:gd name="connsiteX1378" fmla="*/ 21448 w 4439724"/>
              <a:gd name="connsiteY1378" fmla="*/ 542117 h 4420427"/>
              <a:gd name="connsiteX1379" fmla="*/ 32172 w 4439724"/>
              <a:gd name="connsiteY1379" fmla="*/ 505545 h 4420427"/>
              <a:gd name="connsiteX1380" fmla="*/ 40751 w 4439724"/>
              <a:gd name="connsiteY1380" fmla="*/ 473276 h 4420427"/>
              <a:gd name="connsiteX1381" fmla="*/ 55765 w 4439724"/>
              <a:gd name="connsiteY1381" fmla="*/ 441008 h 4420427"/>
              <a:gd name="connsiteX1382" fmla="*/ 62199 w 4439724"/>
              <a:gd name="connsiteY1382" fmla="*/ 421646 h 4420427"/>
              <a:gd name="connsiteX1383" fmla="*/ 72923 w 4439724"/>
              <a:gd name="connsiteY1383" fmla="*/ 400134 h 4420427"/>
              <a:gd name="connsiteX1384" fmla="*/ 87936 w 4439724"/>
              <a:gd name="connsiteY1384" fmla="*/ 376470 h 4420427"/>
              <a:gd name="connsiteX1385" fmla="*/ 100805 w 4439724"/>
              <a:gd name="connsiteY1385" fmla="*/ 350655 h 4420427"/>
              <a:gd name="connsiteX1386" fmla="*/ 115819 w 4439724"/>
              <a:gd name="connsiteY1386" fmla="*/ 324840 h 4420427"/>
              <a:gd name="connsiteX1387" fmla="*/ 130832 w 4439724"/>
              <a:gd name="connsiteY1387" fmla="*/ 301176 h 4420427"/>
              <a:gd name="connsiteX1388" fmla="*/ 150135 w 4439724"/>
              <a:gd name="connsiteY1388" fmla="*/ 277512 h 4420427"/>
              <a:gd name="connsiteX1389" fmla="*/ 169439 w 4439724"/>
              <a:gd name="connsiteY1389" fmla="*/ 253848 h 4420427"/>
              <a:gd name="connsiteX1390" fmla="*/ 188742 w 4439724"/>
              <a:gd name="connsiteY1390" fmla="*/ 232336 h 4420427"/>
              <a:gd name="connsiteX1391" fmla="*/ 208045 w 4439724"/>
              <a:gd name="connsiteY1391" fmla="*/ 210823 h 4420427"/>
              <a:gd name="connsiteX1392" fmla="*/ 208045 w 4439724"/>
              <a:gd name="connsiteY1392" fmla="*/ 208672 h 4420427"/>
              <a:gd name="connsiteX1393" fmla="*/ 235927 w 4439724"/>
              <a:gd name="connsiteY1393" fmla="*/ 182857 h 4420427"/>
              <a:gd name="connsiteX1394" fmla="*/ 268099 w 4439724"/>
              <a:gd name="connsiteY1394" fmla="*/ 157042 h 4420427"/>
              <a:gd name="connsiteX1395" fmla="*/ 300271 w 4439724"/>
              <a:gd name="connsiteY1395" fmla="*/ 133378 h 4420427"/>
              <a:gd name="connsiteX1396" fmla="*/ 330298 w 4439724"/>
              <a:gd name="connsiteY1396" fmla="*/ 111865 h 4420427"/>
              <a:gd name="connsiteX1397" fmla="*/ 375339 w 4439724"/>
              <a:gd name="connsiteY1397" fmla="*/ 88202 h 4420427"/>
              <a:gd name="connsiteX1398" fmla="*/ 418235 w 4439724"/>
              <a:gd name="connsiteY1398" fmla="*/ 64538 h 4420427"/>
              <a:gd name="connsiteX1399" fmla="*/ 465420 w 4439724"/>
              <a:gd name="connsiteY1399" fmla="*/ 45177 h 4420427"/>
              <a:gd name="connsiteX1400" fmla="*/ 512605 w 4439724"/>
              <a:gd name="connsiteY1400" fmla="*/ 30118 h 4420427"/>
              <a:gd name="connsiteX1401" fmla="*/ 561936 w 4439724"/>
              <a:gd name="connsiteY1401" fmla="*/ 17210 h 4420427"/>
              <a:gd name="connsiteX1402" fmla="*/ 611266 w 4439724"/>
              <a:gd name="connsiteY1402" fmla="*/ 8605 h 4420427"/>
              <a:gd name="connsiteX1403" fmla="*/ 660596 w 4439724"/>
              <a:gd name="connsiteY1403" fmla="*/ 4302 h 442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Lst>
            <a:rect l="l" t="t" r="r" b="b"/>
            <a:pathLst>
              <a:path w="4439724" h="4420427">
                <a:moveTo>
                  <a:pt x="3728725" y="2998425"/>
                </a:moveTo>
                <a:lnTo>
                  <a:pt x="3762990" y="3000570"/>
                </a:lnTo>
                <a:lnTo>
                  <a:pt x="3797255" y="3002715"/>
                </a:lnTo>
                <a:lnTo>
                  <a:pt x="3833662" y="3004860"/>
                </a:lnTo>
                <a:lnTo>
                  <a:pt x="3867927" y="3013439"/>
                </a:lnTo>
                <a:lnTo>
                  <a:pt x="3902192" y="3019873"/>
                </a:lnTo>
                <a:lnTo>
                  <a:pt x="3936457" y="3028452"/>
                </a:lnTo>
                <a:lnTo>
                  <a:pt x="3968580" y="3041321"/>
                </a:lnTo>
                <a:lnTo>
                  <a:pt x="4000704" y="3052045"/>
                </a:lnTo>
                <a:lnTo>
                  <a:pt x="4019978" y="3062769"/>
                </a:lnTo>
                <a:lnTo>
                  <a:pt x="4041393" y="3071348"/>
                </a:lnTo>
                <a:lnTo>
                  <a:pt x="4067092" y="3084217"/>
                </a:lnTo>
                <a:lnTo>
                  <a:pt x="4092791" y="3099231"/>
                </a:lnTo>
                <a:lnTo>
                  <a:pt x="4118490" y="3116389"/>
                </a:lnTo>
                <a:lnTo>
                  <a:pt x="4139905" y="3131403"/>
                </a:lnTo>
                <a:lnTo>
                  <a:pt x="4163463" y="3148561"/>
                </a:lnTo>
                <a:lnTo>
                  <a:pt x="4187020" y="3165720"/>
                </a:lnTo>
                <a:lnTo>
                  <a:pt x="4208435" y="3185023"/>
                </a:lnTo>
                <a:lnTo>
                  <a:pt x="4229851" y="3206471"/>
                </a:lnTo>
                <a:lnTo>
                  <a:pt x="4231993" y="3206471"/>
                </a:lnTo>
                <a:lnTo>
                  <a:pt x="4259833" y="3236498"/>
                </a:lnTo>
                <a:lnTo>
                  <a:pt x="4285532" y="3266525"/>
                </a:lnTo>
                <a:lnTo>
                  <a:pt x="4309089" y="3298697"/>
                </a:lnTo>
                <a:lnTo>
                  <a:pt x="4332646" y="3333014"/>
                </a:lnTo>
                <a:lnTo>
                  <a:pt x="4356203" y="3375910"/>
                </a:lnTo>
                <a:lnTo>
                  <a:pt x="4377619" y="3420951"/>
                </a:lnTo>
                <a:lnTo>
                  <a:pt x="4396893" y="3468136"/>
                </a:lnTo>
                <a:lnTo>
                  <a:pt x="4411884" y="3515322"/>
                </a:lnTo>
                <a:lnTo>
                  <a:pt x="4422592" y="3562507"/>
                </a:lnTo>
                <a:lnTo>
                  <a:pt x="4433299" y="3611838"/>
                </a:lnTo>
                <a:lnTo>
                  <a:pt x="4437583" y="3661168"/>
                </a:lnTo>
                <a:lnTo>
                  <a:pt x="4439724" y="3710499"/>
                </a:lnTo>
                <a:lnTo>
                  <a:pt x="4437583" y="3710499"/>
                </a:lnTo>
                <a:lnTo>
                  <a:pt x="4437583" y="3742671"/>
                </a:lnTo>
                <a:lnTo>
                  <a:pt x="4435441" y="3776987"/>
                </a:lnTo>
                <a:lnTo>
                  <a:pt x="4429016" y="3813449"/>
                </a:lnTo>
                <a:lnTo>
                  <a:pt x="4424733" y="3845621"/>
                </a:lnTo>
                <a:lnTo>
                  <a:pt x="4418309" y="3877793"/>
                </a:lnTo>
                <a:lnTo>
                  <a:pt x="4409742" y="3914255"/>
                </a:lnTo>
                <a:lnTo>
                  <a:pt x="4399034" y="3946427"/>
                </a:lnTo>
                <a:lnTo>
                  <a:pt x="4386185" y="3976454"/>
                </a:lnTo>
                <a:lnTo>
                  <a:pt x="4375477" y="3997902"/>
                </a:lnTo>
                <a:lnTo>
                  <a:pt x="4366911" y="4019350"/>
                </a:lnTo>
                <a:lnTo>
                  <a:pt x="4356203" y="4042943"/>
                </a:lnTo>
                <a:lnTo>
                  <a:pt x="4341212" y="4068680"/>
                </a:lnTo>
                <a:lnTo>
                  <a:pt x="4324080" y="4094418"/>
                </a:lnTo>
                <a:lnTo>
                  <a:pt x="4309089" y="4120155"/>
                </a:lnTo>
                <a:lnTo>
                  <a:pt x="4289815" y="4143748"/>
                </a:lnTo>
                <a:lnTo>
                  <a:pt x="4270541" y="4167341"/>
                </a:lnTo>
                <a:lnTo>
                  <a:pt x="4253408" y="4190934"/>
                </a:lnTo>
                <a:lnTo>
                  <a:pt x="4231993" y="4212382"/>
                </a:lnTo>
                <a:lnTo>
                  <a:pt x="4229851" y="4212382"/>
                </a:lnTo>
                <a:lnTo>
                  <a:pt x="4202011" y="4240264"/>
                </a:lnTo>
                <a:lnTo>
                  <a:pt x="4172029" y="4266002"/>
                </a:lnTo>
                <a:lnTo>
                  <a:pt x="4139905" y="4289594"/>
                </a:lnTo>
                <a:lnTo>
                  <a:pt x="4107782" y="4308898"/>
                </a:lnTo>
                <a:lnTo>
                  <a:pt x="4067092" y="4334635"/>
                </a:lnTo>
                <a:lnTo>
                  <a:pt x="4019978" y="4358228"/>
                </a:lnTo>
                <a:lnTo>
                  <a:pt x="3975005" y="4377531"/>
                </a:lnTo>
                <a:lnTo>
                  <a:pt x="3925749" y="4392545"/>
                </a:lnTo>
                <a:lnTo>
                  <a:pt x="3880776" y="4405414"/>
                </a:lnTo>
                <a:lnTo>
                  <a:pt x="3831520" y="4411848"/>
                </a:lnTo>
                <a:lnTo>
                  <a:pt x="3780123" y="4420427"/>
                </a:lnTo>
                <a:lnTo>
                  <a:pt x="3728725" y="4420427"/>
                </a:lnTo>
                <a:lnTo>
                  <a:pt x="3692319" y="4420427"/>
                </a:lnTo>
                <a:lnTo>
                  <a:pt x="3658054" y="4418282"/>
                </a:lnTo>
                <a:lnTo>
                  <a:pt x="3623789" y="4411848"/>
                </a:lnTo>
                <a:lnTo>
                  <a:pt x="3587382" y="4405414"/>
                </a:lnTo>
                <a:lnTo>
                  <a:pt x="3555259" y="4398979"/>
                </a:lnTo>
                <a:lnTo>
                  <a:pt x="3520994" y="4388255"/>
                </a:lnTo>
                <a:lnTo>
                  <a:pt x="3488870" y="4377531"/>
                </a:lnTo>
                <a:lnTo>
                  <a:pt x="3454605" y="4366807"/>
                </a:lnTo>
                <a:lnTo>
                  <a:pt x="3439614" y="4358228"/>
                </a:lnTo>
                <a:lnTo>
                  <a:pt x="3416057" y="4347504"/>
                </a:lnTo>
                <a:lnTo>
                  <a:pt x="3390358" y="4332490"/>
                </a:lnTo>
                <a:lnTo>
                  <a:pt x="3364659" y="4319622"/>
                </a:lnTo>
                <a:lnTo>
                  <a:pt x="3338961" y="4302463"/>
                </a:lnTo>
                <a:lnTo>
                  <a:pt x="3315404" y="4287450"/>
                </a:lnTo>
                <a:lnTo>
                  <a:pt x="3291846" y="4270291"/>
                </a:lnTo>
                <a:lnTo>
                  <a:pt x="3268289" y="4250988"/>
                </a:lnTo>
                <a:lnTo>
                  <a:pt x="3249015" y="4233830"/>
                </a:lnTo>
                <a:lnTo>
                  <a:pt x="3227599" y="4212382"/>
                </a:lnTo>
                <a:lnTo>
                  <a:pt x="3199759" y="4184499"/>
                </a:lnTo>
                <a:lnTo>
                  <a:pt x="3174060" y="4154472"/>
                </a:lnTo>
                <a:lnTo>
                  <a:pt x="3150503" y="4120155"/>
                </a:lnTo>
                <a:lnTo>
                  <a:pt x="3129088" y="4090128"/>
                </a:lnTo>
                <a:lnTo>
                  <a:pt x="3103389" y="4047232"/>
                </a:lnTo>
                <a:lnTo>
                  <a:pt x="3079832" y="4002191"/>
                </a:lnTo>
                <a:lnTo>
                  <a:pt x="3062699" y="3955006"/>
                </a:lnTo>
                <a:lnTo>
                  <a:pt x="3045567" y="3907820"/>
                </a:lnTo>
                <a:lnTo>
                  <a:pt x="3032717" y="3860635"/>
                </a:lnTo>
                <a:lnTo>
                  <a:pt x="3024151" y="3811304"/>
                </a:lnTo>
                <a:lnTo>
                  <a:pt x="3019868" y="3759829"/>
                </a:lnTo>
                <a:lnTo>
                  <a:pt x="3017726" y="3710499"/>
                </a:lnTo>
                <a:lnTo>
                  <a:pt x="3019868" y="3710499"/>
                </a:lnTo>
                <a:lnTo>
                  <a:pt x="3022009" y="3652589"/>
                </a:lnTo>
                <a:lnTo>
                  <a:pt x="3026293" y="3596824"/>
                </a:lnTo>
                <a:lnTo>
                  <a:pt x="3039142" y="3543204"/>
                </a:lnTo>
                <a:lnTo>
                  <a:pt x="3051991" y="3489584"/>
                </a:lnTo>
                <a:lnTo>
                  <a:pt x="3062699" y="3465992"/>
                </a:lnTo>
                <a:lnTo>
                  <a:pt x="3071265" y="3440254"/>
                </a:lnTo>
                <a:lnTo>
                  <a:pt x="3084115" y="3408082"/>
                </a:lnTo>
                <a:lnTo>
                  <a:pt x="3101247" y="3375910"/>
                </a:lnTo>
                <a:lnTo>
                  <a:pt x="3118380" y="3345883"/>
                </a:lnTo>
                <a:lnTo>
                  <a:pt x="3135512" y="3315856"/>
                </a:lnTo>
                <a:lnTo>
                  <a:pt x="3156928" y="3287973"/>
                </a:lnTo>
                <a:lnTo>
                  <a:pt x="3178343" y="3260091"/>
                </a:lnTo>
                <a:lnTo>
                  <a:pt x="3201901" y="3232208"/>
                </a:lnTo>
                <a:lnTo>
                  <a:pt x="3227599" y="3206471"/>
                </a:lnTo>
                <a:lnTo>
                  <a:pt x="3255440" y="3180733"/>
                </a:lnTo>
                <a:lnTo>
                  <a:pt x="3285422" y="3154996"/>
                </a:lnTo>
                <a:lnTo>
                  <a:pt x="3317545" y="3129258"/>
                </a:lnTo>
                <a:lnTo>
                  <a:pt x="3347527" y="3107810"/>
                </a:lnTo>
                <a:lnTo>
                  <a:pt x="3392500" y="3082072"/>
                </a:lnTo>
                <a:lnTo>
                  <a:pt x="3437473" y="3062769"/>
                </a:lnTo>
                <a:lnTo>
                  <a:pt x="3484587" y="3043466"/>
                </a:lnTo>
                <a:lnTo>
                  <a:pt x="3529560" y="3026308"/>
                </a:lnTo>
                <a:lnTo>
                  <a:pt x="3578816" y="3015584"/>
                </a:lnTo>
                <a:lnTo>
                  <a:pt x="3628072" y="3004860"/>
                </a:lnTo>
                <a:lnTo>
                  <a:pt x="3677328" y="3000570"/>
                </a:lnTo>
                <a:close/>
                <a:moveTo>
                  <a:pt x="2211808" y="1512084"/>
                </a:moveTo>
                <a:lnTo>
                  <a:pt x="2248242" y="1514227"/>
                </a:lnTo>
                <a:lnTo>
                  <a:pt x="2282534" y="1516371"/>
                </a:lnTo>
                <a:lnTo>
                  <a:pt x="2316825" y="1518514"/>
                </a:lnTo>
                <a:lnTo>
                  <a:pt x="2351117" y="1527087"/>
                </a:lnTo>
                <a:lnTo>
                  <a:pt x="2385408" y="1533516"/>
                </a:lnTo>
                <a:lnTo>
                  <a:pt x="2417556" y="1542089"/>
                </a:lnTo>
                <a:lnTo>
                  <a:pt x="2449705" y="1554949"/>
                </a:lnTo>
                <a:lnTo>
                  <a:pt x="2483996" y="1565665"/>
                </a:lnTo>
                <a:lnTo>
                  <a:pt x="2503285" y="1576381"/>
                </a:lnTo>
                <a:lnTo>
                  <a:pt x="2524717" y="1584954"/>
                </a:lnTo>
                <a:lnTo>
                  <a:pt x="2550436" y="1597813"/>
                </a:lnTo>
                <a:lnTo>
                  <a:pt x="2576154" y="1612815"/>
                </a:lnTo>
                <a:lnTo>
                  <a:pt x="2599730" y="1629961"/>
                </a:lnTo>
                <a:lnTo>
                  <a:pt x="2625448" y="1644964"/>
                </a:lnTo>
                <a:lnTo>
                  <a:pt x="2649024" y="1662109"/>
                </a:lnTo>
                <a:lnTo>
                  <a:pt x="2670456" y="1681398"/>
                </a:lnTo>
                <a:lnTo>
                  <a:pt x="2694031" y="1698544"/>
                </a:lnTo>
                <a:lnTo>
                  <a:pt x="2713320" y="1719976"/>
                </a:lnTo>
                <a:lnTo>
                  <a:pt x="2741182" y="1747838"/>
                </a:lnTo>
                <a:lnTo>
                  <a:pt x="2764757" y="1777843"/>
                </a:lnTo>
                <a:lnTo>
                  <a:pt x="2788333" y="1807848"/>
                </a:lnTo>
                <a:lnTo>
                  <a:pt x="2809765" y="1842139"/>
                </a:lnTo>
                <a:lnTo>
                  <a:pt x="2831197" y="1872144"/>
                </a:lnTo>
                <a:lnTo>
                  <a:pt x="2846199" y="1906436"/>
                </a:lnTo>
                <a:lnTo>
                  <a:pt x="2863345" y="1938584"/>
                </a:lnTo>
                <a:lnTo>
                  <a:pt x="2878348" y="1975019"/>
                </a:lnTo>
                <a:lnTo>
                  <a:pt x="2889064" y="2009310"/>
                </a:lnTo>
                <a:lnTo>
                  <a:pt x="2899780" y="2045745"/>
                </a:lnTo>
                <a:lnTo>
                  <a:pt x="2908353" y="2082179"/>
                </a:lnTo>
                <a:lnTo>
                  <a:pt x="2914782" y="2116471"/>
                </a:lnTo>
                <a:lnTo>
                  <a:pt x="2919069" y="2155049"/>
                </a:lnTo>
                <a:lnTo>
                  <a:pt x="2921212" y="2197913"/>
                </a:lnTo>
                <a:lnTo>
                  <a:pt x="2921212" y="2236491"/>
                </a:lnTo>
                <a:lnTo>
                  <a:pt x="2919069" y="2279355"/>
                </a:lnTo>
                <a:lnTo>
                  <a:pt x="2914782" y="2320076"/>
                </a:lnTo>
                <a:lnTo>
                  <a:pt x="2908353" y="2358654"/>
                </a:lnTo>
                <a:lnTo>
                  <a:pt x="2899780" y="2401519"/>
                </a:lnTo>
                <a:lnTo>
                  <a:pt x="2889064" y="2440096"/>
                </a:lnTo>
                <a:lnTo>
                  <a:pt x="2876204" y="2478674"/>
                </a:lnTo>
                <a:lnTo>
                  <a:pt x="2859059" y="2517252"/>
                </a:lnTo>
                <a:lnTo>
                  <a:pt x="2839770" y="2553687"/>
                </a:lnTo>
                <a:lnTo>
                  <a:pt x="2818338" y="2590121"/>
                </a:lnTo>
                <a:lnTo>
                  <a:pt x="2799049" y="2626556"/>
                </a:lnTo>
                <a:lnTo>
                  <a:pt x="2773330" y="2658704"/>
                </a:lnTo>
                <a:lnTo>
                  <a:pt x="2745468" y="2695139"/>
                </a:lnTo>
                <a:lnTo>
                  <a:pt x="2713320" y="2725144"/>
                </a:lnTo>
                <a:lnTo>
                  <a:pt x="2691888" y="2746576"/>
                </a:lnTo>
                <a:lnTo>
                  <a:pt x="2668312" y="2765865"/>
                </a:lnTo>
                <a:lnTo>
                  <a:pt x="2640451" y="2787297"/>
                </a:lnTo>
                <a:lnTo>
                  <a:pt x="2614732" y="2806586"/>
                </a:lnTo>
                <a:lnTo>
                  <a:pt x="2601873" y="2813016"/>
                </a:lnTo>
                <a:lnTo>
                  <a:pt x="2593300" y="2819445"/>
                </a:lnTo>
                <a:lnTo>
                  <a:pt x="2586870" y="2823732"/>
                </a:lnTo>
                <a:lnTo>
                  <a:pt x="2580441" y="2828018"/>
                </a:lnTo>
                <a:lnTo>
                  <a:pt x="2576154" y="2830162"/>
                </a:lnTo>
                <a:lnTo>
                  <a:pt x="2569725" y="2834448"/>
                </a:lnTo>
                <a:lnTo>
                  <a:pt x="2567581" y="2834448"/>
                </a:lnTo>
                <a:lnTo>
                  <a:pt x="2556865" y="2840878"/>
                </a:lnTo>
                <a:lnTo>
                  <a:pt x="2529003" y="2855880"/>
                </a:lnTo>
                <a:lnTo>
                  <a:pt x="2503285" y="2868739"/>
                </a:lnTo>
                <a:lnTo>
                  <a:pt x="2501142" y="2868739"/>
                </a:lnTo>
                <a:lnTo>
                  <a:pt x="2498998" y="2868739"/>
                </a:lnTo>
                <a:lnTo>
                  <a:pt x="2481853" y="2879455"/>
                </a:lnTo>
                <a:lnTo>
                  <a:pt x="2460421" y="2888028"/>
                </a:lnTo>
                <a:lnTo>
                  <a:pt x="2458277" y="2888028"/>
                </a:lnTo>
                <a:lnTo>
                  <a:pt x="2447561" y="2890172"/>
                </a:lnTo>
                <a:lnTo>
                  <a:pt x="2438988" y="2894458"/>
                </a:lnTo>
                <a:lnTo>
                  <a:pt x="2436845" y="2894458"/>
                </a:lnTo>
                <a:lnTo>
                  <a:pt x="2408983" y="2905174"/>
                </a:lnTo>
                <a:lnTo>
                  <a:pt x="2376835" y="2911604"/>
                </a:lnTo>
                <a:lnTo>
                  <a:pt x="2366119" y="2913747"/>
                </a:lnTo>
                <a:lnTo>
                  <a:pt x="2363976" y="2915890"/>
                </a:lnTo>
                <a:lnTo>
                  <a:pt x="2355403" y="2918033"/>
                </a:lnTo>
                <a:lnTo>
                  <a:pt x="2340401" y="2920177"/>
                </a:lnTo>
                <a:lnTo>
                  <a:pt x="2327541" y="2922320"/>
                </a:lnTo>
                <a:lnTo>
                  <a:pt x="2203235" y="2930893"/>
                </a:lnTo>
                <a:lnTo>
                  <a:pt x="2196805" y="2933036"/>
                </a:lnTo>
                <a:lnTo>
                  <a:pt x="2186089" y="2930893"/>
                </a:lnTo>
                <a:lnTo>
                  <a:pt x="2156084" y="2930893"/>
                </a:lnTo>
                <a:lnTo>
                  <a:pt x="2128222" y="2924463"/>
                </a:lnTo>
                <a:lnTo>
                  <a:pt x="2126079" y="2924463"/>
                </a:lnTo>
                <a:lnTo>
                  <a:pt x="2117506" y="2924463"/>
                </a:lnTo>
                <a:lnTo>
                  <a:pt x="2115363" y="2924463"/>
                </a:lnTo>
                <a:lnTo>
                  <a:pt x="2113220" y="2922320"/>
                </a:lnTo>
                <a:lnTo>
                  <a:pt x="2111077" y="2922320"/>
                </a:lnTo>
                <a:lnTo>
                  <a:pt x="2106790" y="2922320"/>
                </a:lnTo>
                <a:lnTo>
                  <a:pt x="2104647" y="2922320"/>
                </a:lnTo>
                <a:lnTo>
                  <a:pt x="2100360" y="2922320"/>
                </a:lnTo>
                <a:lnTo>
                  <a:pt x="2091788" y="2922320"/>
                </a:lnTo>
                <a:lnTo>
                  <a:pt x="2089644" y="2920177"/>
                </a:lnTo>
                <a:lnTo>
                  <a:pt x="2076785" y="2920177"/>
                </a:lnTo>
                <a:lnTo>
                  <a:pt x="2044637" y="2922320"/>
                </a:lnTo>
                <a:lnTo>
                  <a:pt x="2012489" y="2924463"/>
                </a:lnTo>
                <a:lnTo>
                  <a:pt x="1982484" y="2930893"/>
                </a:lnTo>
                <a:lnTo>
                  <a:pt x="1948192" y="2935179"/>
                </a:lnTo>
                <a:lnTo>
                  <a:pt x="1918187" y="2941609"/>
                </a:lnTo>
                <a:lnTo>
                  <a:pt x="1888182" y="2950182"/>
                </a:lnTo>
                <a:lnTo>
                  <a:pt x="1858177" y="2963041"/>
                </a:lnTo>
                <a:lnTo>
                  <a:pt x="1828172" y="2973757"/>
                </a:lnTo>
                <a:lnTo>
                  <a:pt x="1808883" y="2984473"/>
                </a:lnTo>
                <a:lnTo>
                  <a:pt x="1787451" y="2993046"/>
                </a:lnTo>
                <a:lnTo>
                  <a:pt x="1742443" y="3020908"/>
                </a:lnTo>
                <a:lnTo>
                  <a:pt x="1695293" y="3050913"/>
                </a:lnTo>
                <a:lnTo>
                  <a:pt x="1650285" y="3085204"/>
                </a:lnTo>
                <a:lnTo>
                  <a:pt x="1611707" y="3123782"/>
                </a:lnTo>
                <a:lnTo>
                  <a:pt x="1607421" y="3125925"/>
                </a:lnTo>
                <a:lnTo>
                  <a:pt x="1583846" y="3153787"/>
                </a:lnTo>
                <a:lnTo>
                  <a:pt x="1560270" y="3181649"/>
                </a:lnTo>
                <a:lnTo>
                  <a:pt x="1538838" y="3209511"/>
                </a:lnTo>
                <a:lnTo>
                  <a:pt x="1517406" y="3241659"/>
                </a:lnTo>
                <a:lnTo>
                  <a:pt x="1495974" y="3282380"/>
                </a:lnTo>
                <a:lnTo>
                  <a:pt x="1474542" y="3323101"/>
                </a:lnTo>
                <a:lnTo>
                  <a:pt x="1459539" y="3365965"/>
                </a:lnTo>
                <a:lnTo>
                  <a:pt x="1444537" y="3408830"/>
                </a:lnTo>
                <a:lnTo>
                  <a:pt x="1435964" y="3451694"/>
                </a:lnTo>
                <a:lnTo>
                  <a:pt x="1427391" y="3496701"/>
                </a:lnTo>
                <a:lnTo>
                  <a:pt x="1425248" y="3541709"/>
                </a:lnTo>
                <a:lnTo>
                  <a:pt x="1420961" y="3586716"/>
                </a:lnTo>
                <a:lnTo>
                  <a:pt x="1425248" y="3601719"/>
                </a:lnTo>
                <a:lnTo>
                  <a:pt x="1427391" y="3610292"/>
                </a:lnTo>
                <a:lnTo>
                  <a:pt x="1427391" y="3614578"/>
                </a:lnTo>
                <a:lnTo>
                  <a:pt x="1427391" y="3616721"/>
                </a:lnTo>
                <a:lnTo>
                  <a:pt x="1427391" y="3621008"/>
                </a:lnTo>
                <a:lnTo>
                  <a:pt x="1427391" y="3625294"/>
                </a:lnTo>
                <a:lnTo>
                  <a:pt x="1427391" y="3627438"/>
                </a:lnTo>
                <a:lnTo>
                  <a:pt x="1427391" y="3631724"/>
                </a:lnTo>
                <a:lnTo>
                  <a:pt x="1429534" y="3636010"/>
                </a:lnTo>
                <a:lnTo>
                  <a:pt x="1429534" y="3638154"/>
                </a:lnTo>
                <a:lnTo>
                  <a:pt x="1429534" y="3640297"/>
                </a:lnTo>
                <a:lnTo>
                  <a:pt x="1429534" y="3648870"/>
                </a:lnTo>
                <a:lnTo>
                  <a:pt x="1429534" y="3651013"/>
                </a:lnTo>
                <a:lnTo>
                  <a:pt x="1429534" y="3655299"/>
                </a:lnTo>
                <a:lnTo>
                  <a:pt x="1431677" y="3674588"/>
                </a:lnTo>
                <a:lnTo>
                  <a:pt x="1433820" y="3691734"/>
                </a:lnTo>
                <a:lnTo>
                  <a:pt x="1433820" y="3696020"/>
                </a:lnTo>
                <a:lnTo>
                  <a:pt x="1431677" y="3708880"/>
                </a:lnTo>
                <a:lnTo>
                  <a:pt x="1425248" y="3826757"/>
                </a:lnTo>
                <a:lnTo>
                  <a:pt x="1420961" y="3839616"/>
                </a:lnTo>
                <a:lnTo>
                  <a:pt x="1418818" y="3850332"/>
                </a:lnTo>
                <a:lnTo>
                  <a:pt x="1416675" y="3852475"/>
                </a:lnTo>
                <a:lnTo>
                  <a:pt x="1414532" y="3867478"/>
                </a:lnTo>
                <a:lnTo>
                  <a:pt x="1414532" y="3871764"/>
                </a:lnTo>
                <a:lnTo>
                  <a:pt x="1408102" y="3895339"/>
                </a:lnTo>
                <a:lnTo>
                  <a:pt x="1401672" y="3916772"/>
                </a:lnTo>
                <a:lnTo>
                  <a:pt x="1395243" y="3936060"/>
                </a:lnTo>
                <a:lnTo>
                  <a:pt x="1386670" y="3957493"/>
                </a:lnTo>
                <a:lnTo>
                  <a:pt x="1382383" y="3970352"/>
                </a:lnTo>
                <a:lnTo>
                  <a:pt x="1378097" y="3981068"/>
                </a:lnTo>
                <a:lnTo>
                  <a:pt x="1375954" y="3989641"/>
                </a:lnTo>
                <a:lnTo>
                  <a:pt x="1369524" y="4000357"/>
                </a:lnTo>
                <a:lnTo>
                  <a:pt x="1360951" y="4021789"/>
                </a:lnTo>
                <a:lnTo>
                  <a:pt x="1352378" y="4036792"/>
                </a:lnTo>
                <a:lnTo>
                  <a:pt x="1341662" y="4056081"/>
                </a:lnTo>
                <a:lnTo>
                  <a:pt x="1330946" y="4075369"/>
                </a:lnTo>
                <a:lnTo>
                  <a:pt x="1333089" y="4073226"/>
                </a:lnTo>
                <a:lnTo>
                  <a:pt x="1328803" y="4079656"/>
                </a:lnTo>
                <a:lnTo>
                  <a:pt x="1320230" y="4092515"/>
                </a:lnTo>
                <a:lnTo>
                  <a:pt x="1307371" y="4111804"/>
                </a:lnTo>
                <a:lnTo>
                  <a:pt x="1307371" y="4113947"/>
                </a:lnTo>
                <a:lnTo>
                  <a:pt x="1288082" y="4139666"/>
                </a:lnTo>
                <a:lnTo>
                  <a:pt x="1268793" y="4165385"/>
                </a:lnTo>
                <a:lnTo>
                  <a:pt x="1247361" y="4188960"/>
                </a:lnTo>
                <a:lnTo>
                  <a:pt x="1225929" y="4212535"/>
                </a:lnTo>
                <a:lnTo>
                  <a:pt x="1198067" y="4240397"/>
                </a:lnTo>
                <a:lnTo>
                  <a:pt x="1168062" y="4266116"/>
                </a:lnTo>
                <a:lnTo>
                  <a:pt x="1135914" y="4289691"/>
                </a:lnTo>
                <a:lnTo>
                  <a:pt x="1103765" y="4308980"/>
                </a:lnTo>
                <a:lnTo>
                  <a:pt x="1060901" y="4334699"/>
                </a:lnTo>
                <a:lnTo>
                  <a:pt x="1015894" y="4358274"/>
                </a:lnTo>
                <a:lnTo>
                  <a:pt x="968743" y="4377563"/>
                </a:lnTo>
                <a:lnTo>
                  <a:pt x="921592" y="4392565"/>
                </a:lnTo>
                <a:lnTo>
                  <a:pt x="874441" y="4405425"/>
                </a:lnTo>
                <a:lnTo>
                  <a:pt x="825147" y="4411854"/>
                </a:lnTo>
                <a:lnTo>
                  <a:pt x="773710" y="4420427"/>
                </a:lnTo>
                <a:lnTo>
                  <a:pt x="724416" y="4420427"/>
                </a:lnTo>
                <a:lnTo>
                  <a:pt x="687982" y="4420427"/>
                </a:lnTo>
                <a:lnTo>
                  <a:pt x="651547" y="4418284"/>
                </a:lnTo>
                <a:lnTo>
                  <a:pt x="617256" y="4411854"/>
                </a:lnTo>
                <a:lnTo>
                  <a:pt x="585107" y="4405425"/>
                </a:lnTo>
                <a:lnTo>
                  <a:pt x="548673" y="4398995"/>
                </a:lnTo>
                <a:lnTo>
                  <a:pt x="516524" y="4388279"/>
                </a:lnTo>
                <a:lnTo>
                  <a:pt x="484376" y="4377563"/>
                </a:lnTo>
                <a:lnTo>
                  <a:pt x="452228" y="4366847"/>
                </a:lnTo>
                <a:lnTo>
                  <a:pt x="432939" y="4358274"/>
                </a:lnTo>
                <a:lnTo>
                  <a:pt x="409364" y="4347558"/>
                </a:lnTo>
                <a:lnTo>
                  <a:pt x="383645" y="4332555"/>
                </a:lnTo>
                <a:lnTo>
                  <a:pt x="360070" y="4319696"/>
                </a:lnTo>
                <a:lnTo>
                  <a:pt x="334351" y="4304694"/>
                </a:lnTo>
                <a:lnTo>
                  <a:pt x="310776" y="4289691"/>
                </a:lnTo>
                <a:lnTo>
                  <a:pt x="287200" y="4270402"/>
                </a:lnTo>
                <a:lnTo>
                  <a:pt x="265768" y="4251113"/>
                </a:lnTo>
                <a:lnTo>
                  <a:pt x="242193" y="4233967"/>
                </a:lnTo>
                <a:lnTo>
                  <a:pt x="220761" y="4212535"/>
                </a:lnTo>
                <a:lnTo>
                  <a:pt x="192899" y="4182530"/>
                </a:lnTo>
                <a:lnTo>
                  <a:pt x="167180" y="4152525"/>
                </a:lnTo>
                <a:lnTo>
                  <a:pt x="143605" y="4120377"/>
                </a:lnTo>
                <a:lnTo>
                  <a:pt x="120030" y="4086086"/>
                </a:lnTo>
                <a:lnTo>
                  <a:pt x="100741" y="4053937"/>
                </a:lnTo>
                <a:lnTo>
                  <a:pt x="83595" y="4019646"/>
                </a:lnTo>
                <a:lnTo>
                  <a:pt x="66449" y="3981068"/>
                </a:lnTo>
                <a:lnTo>
                  <a:pt x="53591" y="3944633"/>
                </a:lnTo>
                <a:lnTo>
                  <a:pt x="45017" y="3925344"/>
                </a:lnTo>
                <a:lnTo>
                  <a:pt x="40731" y="3906055"/>
                </a:lnTo>
                <a:lnTo>
                  <a:pt x="36444" y="3888910"/>
                </a:lnTo>
                <a:lnTo>
                  <a:pt x="32158" y="3869621"/>
                </a:lnTo>
                <a:lnTo>
                  <a:pt x="21442" y="3828900"/>
                </a:lnTo>
                <a:lnTo>
                  <a:pt x="17156" y="3790322"/>
                </a:lnTo>
                <a:lnTo>
                  <a:pt x="15013" y="3749601"/>
                </a:lnTo>
                <a:lnTo>
                  <a:pt x="12869" y="3711023"/>
                </a:lnTo>
                <a:lnTo>
                  <a:pt x="12869" y="3674588"/>
                </a:lnTo>
                <a:lnTo>
                  <a:pt x="17156" y="3638154"/>
                </a:lnTo>
                <a:lnTo>
                  <a:pt x="19299" y="3603862"/>
                </a:lnTo>
                <a:lnTo>
                  <a:pt x="27872" y="3571714"/>
                </a:lnTo>
                <a:lnTo>
                  <a:pt x="34301" y="3535279"/>
                </a:lnTo>
                <a:lnTo>
                  <a:pt x="42874" y="3503131"/>
                </a:lnTo>
                <a:lnTo>
                  <a:pt x="55733" y="3470983"/>
                </a:lnTo>
                <a:lnTo>
                  <a:pt x="66449" y="3438835"/>
                </a:lnTo>
                <a:lnTo>
                  <a:pt x="72879" y="3419546"/>
                </a:lnTo>
                <a:lnTo>
                  <a:pt x="85738" y="3395970"/>
                </a:lnTo>
                <a:lnTo>
                  <a:pt x="98597" y="3370252"/>
                </a:lnTo>
                <a:lnTo>
                  <a:pt x="113600" y="3346676"/>
                </a:lnTo>
                <a:lnTo>
                  <a:pt x="128602" y="3320958"/>
                </a:lnTo>
                <a:lnTo>
                  <a:pt x="145748" y="3297382"/>
                </a:lnTo>
                <a:lnTo>
                  <a:pt x="162894" y="3275950"/>
                </a:lnTo>
                <a:lnTo>
                  <a:pt x="180040" y="3252375"/>
                </a:lnTo>
                <a:lnTo>
                  <a:pt x="199329" y="3230943"/>
                </a:lnTo>
                <a:lnTo>
                  <a:pt x="220761" y="3207367"/>
                </a:lnTo>
                <a:lnTo>
                  <a:pt x="244336" y="3185935"/>
                </a:lnTo>
                <a:lnTo>
                  <a:pt x="270055" y="3164503"/>
                </a:lnTo>
                <a:lnTo>
                  <a:pt x="295773" y="3145214"/>
                </a:lnTo>
                <a:lnTo>
                  <a:pt x="323635" y="3125925"/>
                </a:lnTo>
                <a:lnTo>
                  <a:pt x="338638" y="3113066"/>
                </a:lnTo>
                <a:lnTo>
                  <a:pt x="353640" y="3104493"/>
                </a:lnTo>
                <a:lnTo>
                  <a:pt x="355783" y="3104493"/>
                </a:lnTo>
                <a:lnTo>
                  <a:pt x="357927" y="3102350"/>
                </a:lnTo>
                <a:lnTo>
                  <a:pt x="360070" y="3102350"/>
                </a:lnTo>
                <a:lnTo>
                  <a:pt x="366499" y="3098063"/>
                </a:lnTo>
                <a:lnTo>
                  <a:pt x="370786" y="3095920"/>
                </a:lnTo>
                <a:lnTo>
                  <a:pt x="379359" y="3091634"/>
                </a:lnTo>
                <a:lnTo>
                  <a:pt x="407220" y="3076631"/>
                </a:lnTo>
                <a:lnTo>
                  <a:pt x="432939" y="3065915"/>
                </a:lnTo>
                <a:lnTo>
                  <a:pt x="432939" y="3063772"/>
                </a:lnTo>
                <a:lnTo>
                  <a:pt x="435082" y="3063772"/>
                </a:lnTo>
                <a:lnTo>
                  <a:pt x="456514" y="3053056"/>
                </a:lnTo>
                <a:lnTo>
                  <a:pt x="471517" y="3046626"/>
                </a:lnTo>
                <a:lnTo>
                  <a:pt x="475803" y="3046626"/>
                </a:lnTo>
                <a:lnTo>
                  <a:pt x="492949" y="3040197"/>
                </a:lnTo>
                <a:lnTo>
                  <a:pt x="516524" y="3031624"/>
                </a:lnTo>
                <a:lnTo>
                  <a:pt x="540100" y="3025194"/>
                </a:lnTo>
                <a:lnTo>
                  <a:pt x="561532" y="3020908"/>
                </a:lnTo>
                <a:lnTo>
                  <a:pt x="570105" y="3018764"/>
                </a:lnTo>
                <a:lnTo>
                  <a:pt x="585107" y="3014478"/>
                </a:lnTo>
                <a:lnTo>
                  <a:pt x="597967" y="3012335"/>
                </a:lnTo>
                <a:lnTo>
                  <a:pt x="608683" y="3012335"/>
                </a:lnTo>
                <a:lnTo>
                  <a:pt x="732989" y="3001619"/>
                </a:lnTo>
                <a:lnTo>
                  <a:pt x="739419" y="3001619"/>
                </a:lnTo>
                <a:lnTo>
                  <a:pt x="750135" y="3001619"/>
                </a:lnTo>
                <a:lnTo>
                  <a:pt x="767281" y="3001619"/>
                </a:lnTo>
                <a:lnTo>
                  <a:pt x="782283" y="3003762"/>
                </a:lnTo>
                <a:lnTo>
                  <a:pt x="795142" y="3005905"/>
                </a:lnTo>
                <a:lnTo>
                  <a:pt x="812288" y="3010192"/>
                </a:lnTo>
                <a:lnTo>
                  <a:pt x="818718" y="3010192"/>
                </a:lnTo>
                <a:lnTo>
                  <a:pt x="820861" y="3010192"/>
                </a:lnTo>
                <a:lnTo>
                  <a:pt x="823004" y="3010192"/>
                </a:lnTo>
                <a:lnTo>
                  <a:pt x="825147" y="3010192"/>
                </a:lnTo>
                <a:lnTo>
                  <a:pt x="827291" y="3010192"/>
                </a:lnTo>
                <a:lnTo>
                  <a:pt x="831577" y="3010192"/>
                </a:lnTo>
                <a:lnTo>
                  <a:pt x="842293" y="3010192"/>
                </a:lnTo>
                <a:lnTo>
                  <a:pt x="846580" y="3012335"/>
                </a:lnTo>
                <a:lnTo>
                  <a:pt x="848723" y="3012335"/>
                </a:lnTo>
                <a:lnTo>
                  <a:pt x="850866" y="3012335"/>
                </a:lnTo>
                <a:lnTo>
                  <a:pt x="853009" y="3012335"/>
                </a:lnTo>
                <a:lnTo>
                  <a:pt x="857296" y="3012335"/>
                </a:lnTo>
                <a:lnTo>
                  <a:pt x="859439" y="3012335"/>
                </a:lnTo>
                <a:lnTo>
                  <a:pt x="889444" y="3010192"/>
                </a:lnTo>
                <a:lnTo>
                  <a:pt x="921592" y="3005905"/>
                </a:lnTo>
                <a:lnTo>
                  <a:pt x="953740" y="3003762"/>
                </a:lnTo>
                <a:lnTo>
                  <a:pt x="985889" y="2997332"/>
                </a:lnTo>
                <a:lnTo>
                  <a:pt x="1015894" y="2990903"/>
                </a:lnTo>
                <a:lnTo>
                  <a:pt x="1045899" y="2980187"/>
                </a:lnTo>
                <a:lnTo>
                  <a:pt x="1078047" y="2969471"/>
                </a:lnTo>
                <a:lnTo>
                  <a:pt x="1110195" y="2958754"/>
                </a:lnTo>
                <a:lnTo>
                  <a:pt x="1127341" y="2948038"/>
                </a:lnTo>
                <a:lnTo>
                  <a:pt x="1146630" y="2939465"/>
                </a:lnTo>
                <a:lnTo>
                  <a:pt x="1195924" y="2913747"/>
                </a:lnTo>
                <a:lnTo>
                  <a:pt x="1240931" y="2881599"/>
                </a:lnTo>
                <a:lnTo>
                  <a:pt x="1283795" y="2847307"/>
                </a:lnTo>
                <a:lnTo>
                  <a:pt x="1324517" y="2808729"/>
                </a:lnTo>
                <a:lnTo>
                  <a:pt x="1326660" y="2808729"/>
                </a:lnTo>
                <a:lnTo>
                  <a:pt x="1352378" y="2780868"/>
                </a:lnTo>
                <a:lnTo>
                  <a:pt x="1375954" y="2750863"/>
                </a:lnTo>
                <a:lnTo>
                  <a:pt x="1395243" y="2723001"/>
                </a:lnTo>
                <a:lnTo>
                  <a:pt x="1416675" y="2690853"/>
                </a:lnTo>
                <a:lnTo>
                  <a:pt x="1438107" y="2650131"/>
                </a:lnTo>
                <a:lnTo>
                  <a:pt x="1459539" y="2611554"/>
                </a:lnTo>
                <a:lnTo>
                  <a:pt x="1474542" y="2568689"/>
                </a:lnTo>
                <a:lnTo>
                  <a:pt x="1489544" y="2523682"/>
                </a:lnTo>
                <a:lnTo>
                  <a:pt x="1498117" y="2482961"/>
                </a:lnTo>
                <a:lnTo>
                  <a:pt x="1508833" y="2437953"/>
                </a:lnTo>
                <a:lnTo>
                  <a:pt x="1510976" y="2390802"/>
                </a:lnTo>
                <a:lnTo>
                  <a:pt x="1513119" y="2347938"/>
                </a:lnTo>
                <a:lnTo>
                  <a:pt x="1510976" y="2330792"/>
                </a:lnTo>
                <a:lnTo>
                  <a:pt x="1508833" y="2315790"/>
                </a:lnTo>
                <a:lnTo>
                  <a:pt x="1508833" y="2309360"/>
                </a:lnTo>
                <a:lnTo>
                  <a:pt x="1508833" y="2307217"/>
                </a:lnTo>
                <a:lnTo>
                  <a:pt x="1508833" y="2302931"/>
                </a:lnTo>
                <a:lnTo>
                  <a:pt x="1508833" y="2300787"/>
                </a:lnTo>
                <a:lnTo>
                  <a:pt x="1506690" y="2287928"/>
                </a:lnTo>
                <a:lnTo>
                  <a:pt x="1504547" y="2270782"/>
                </a:lnTo>
                <a:lnTo>
                  <a:pt x="1504547" y="2249350"/>
                </a:lnTo>
                <a:lnTo>
                  <a:pt x="1500260" y="2236491"/>
                </a:lnTo>
                <a:lnTo>
                  <a:pt x="1504547" y="2227918"/>
                </a:lnTo>
                <a:lnTo>
                  <a:pt x="1513119" y="2103612"/>
                </a:lnTo>
                <a:lnTo>
                  <a:pt x="1513119" y="2095039"/>
                </a:lnTo>
                <a:lnTo>
                  <a:pt x="1515263" y="2086466"/>
                </a:lnTo>
                <a:lnTo>
                  <a:pt x="1517406" y="2073607"/>
                </a:lnTo>
                <a:lnTo>
                  <a:pt x="1519549" y="2065034"/>
                </a:lnTo>
                <a:lnTo>
                  <a:pt x="1521692" y="2060747"/>
                </a:lnTo>
                <a:lnTo>
                  <a:pt x="1525979" y="2037172"/>
                </a:lnTo>
                <a:lnTo>
                  <a:pt x="1532408" y="2020026"/>
                </a:lnTo>
                <a:lnTo>
                  <a:pt x="1538838" y="2000737"/>
                </a:lnTo>
                <a:lnTo>
                  <a:pt x="1545268" y="1977162"/>
                </a:lnTo>
                <a:lnTo>
                  <a:pt x="1551697" y="1960016"/>
                </a:lnTo>
                <a:lnTo>
                  <a:pt x="1558127" y="1951443"/>
                </a:lnTo>
                <a:lnTo>
                  <a:pt x="1560270" y="1947157"/>
                </a:lnTo>
                <a:lnTo>
                  <a:pt x="1566700" y="1932154"/>
                </a:lnTo>
                <a:lnTo>
                  <a:pt x="1575273" y="1908579"/>
                </a:lnTo>
                <a:lnTo>
                  <a:pt x="1583846" y="1895720"/>
                </a:lnTo>
                <a:lnTo>
                  <a:pt x="1585989" y="1895720"/>
                </a:lnTo>
                <a:lnTo>
                  <a:pt x="1594562" y="1874288"/>
                </a:lnTo>
                <a:lnTo>
                  <a:pt x="1603134" y="1857142"/>
                </a:lnTo>
                <a:lnTo>
                  <a:pt x="1605278" y="1852855"/>
                </a:lnTo>
                <a:lnTo>
                  <a:pt x="1615994" y="1835710"/>
                </a:lnTo>
                <a:lnTo>
                  <a:pt x="1626710" y="1820707"/>
                </a:lnTo>
                <a:lnTo>
                  <a:pt x="1648142" y="1792845"/>
                </a:lnTo>
                <a:lnTo>
                  <a:pt x="1667431" y="1767127"/>
                </a:lnTo>
                <a:lnTo>
                  <a:pt x="1691006" y="1741408"/>
                </a:lnTo>
                <a:lnTo>
                  <a:pt x="1708152" y="1719976"/>
                </a:lnTo>
                <a:lnTo>
                  <a:pt x="1738157" y="1694258"/>
                </a:lnTo>
                <a:lnTo>
                  <a:pt x="1768162" y="1668539"/>
                </a:lnTo>
                <a:lnTo>
                  <a:pt x="1800310" y="1642820"/>
                </a:lnTo>
                <a:lnTo>
                  <a:pt x="1832459" y="1621388"/>
                </a:lnTo>
                <a:lnTo>
                  <a:pt x="1875323" y="1595670"/>
                </a:lnTo>
                <a:lnTo>
                  <a:pt x="1918187" y="1576381"/>
                </a:lnTo>
                <a:lnTo>
                  <a:pt x="1965338" y="1557092"/>
                </a:lnTo>
                <a:lnTo>
                  <a:pt x="2012489" y="1539946"/>
                </a:lnTo>
                <a:lnTo>
                  <a:pt x="2061783" y="1529230"/>
                </a:lnTo>
                <a:lnTo>
                  <a:pt x="2111077" y="1518514"/>
                </a:lnTo>
                <a:lnTo>
                  <a:pt x="2160370" y="1514227"/>
                </a:lnTo>
                <a:close/>
                <a:moveTo>
                  <a:pt x="3704586" y="1499215"/>
                </a:moveTo>
                <a:lnTo>
                  <a:pt x="3704586" y="1501363"/>
                </a:lnTo>
                <a:lnTo>
                  <a:pt x="3738877" y="1501363"/>
                </a:lnTo>
                <a:lnTo>
                  <a:pt x="3775312" y="1503511"/>
                </a:lnTo>
                <a:lnTo>
                  <a:pt x="3809603" y="1507807"/>
                </a:lnTo>
                <a:lnTo>
                  <a:pt x="3843895" y="1512103"/>
                </a:lnTo>
                <a:lnTo>
                  <a:pt x="3876043" y="1522843"/>
                </a:lnTo>
                <a:lnTo>
                  <a:pt x="3912478" y="1531435"/>
                </a:lnTo>
                <a:lnTo>
                  <a:pt x="3944626" y="1540026"/>
                </a:lnTo>
                <a:lnTo>
                  <a:pt x="3974631" y="1552914"/>
                </a:lnTo>
                <a:lnTo>
                  <a:pt x="3996063" y="1561506"/>
                </a:lnTo>
                <a:lnTo>
                  <a:pt x="4017495" y="1574394"/>
                </a:lnTo>
                <a:lnTo>
                  <a:pt x="4043214" y="1585134"/>
                </a:lnTo>
                <a:lnTo>
                  <a:pt x="4068932" y="1600169"/>
                </a:lnTo>
                <a:lnTo>
                  <a:pt x="4094651" y="1615205"/>
                </a:lnTo>
                <a:lnTo>
                  <a:pt x="4118226" y="1632389"/>
                </a:lnTo>
                <a:lnTo>
                  <a:pt x="4139659" y="1651720"/>
                </a:lnTo>
                <a:lnTo>
                  <a:pt x="4163234" y="1666756"/>
                </a:lnTo>
                <a:lnTo>
                  <a:pt x="4184666" y="1688236"/>
                </a:lnTo>
                <a:lnTo>
                  <a:pt x="4206098" y="1709715"/>
                </a:lnTo>
                <a:lnTo>
                  <a:pt x="4231817" y="1735491"/>
                </a:lnTo>
                <a:lnTo>
                  <a:pt x="4253249" y="1761266"/>
                </a:lnTo>
                <a:lnTo>
                  <a:pt x="4272538" y="1787042"/>
                </a:lnTo>
                <a:lnTo>
                  <a:pt x="4291827" y="1812817"/>
                </a:lnTo>
                <a:lnTo>
                  <a:pt x="4313259" y="1845037"/>
                </a:lnTo>
                <a:lnTo>
                  <a:pt x="4332548" y="1877256"/>
                </a:lnTo>
                <a:lnTo>
                  <a:pt x="4347550" y="1911623"/>
                </a:lnTo>
                <a:lnTo>
                  <a:pt x="4364696" y="1948139"/>
                </a:lnTo>
                <a:lnTo>
                  <a:pt x="4375412" y="1982506"/>
                </a:lnTo>
                <a:lnTo>
                  <a:pt x="4388272" y="2016873"/>
                </a:lnTo>
                <a:lnTo>
                  <a:pt x="4396844" y="2055537"/>
                </a:lnTo>
                <a:lnTo>
                  <a:pt x="4403274" y="2089904"/>
                </a:lnTo>
                <a:lnTo>
                  <a:pt x="4411847" y="2132863"/>
                </a:lnTo>
                <a:lnTo>
                  <a:pt x="4413990" y="2173674"/>
                </a:lnTo>
                <a:lnTo>
                  <a:pt x="4413990" y="2214485"/>
                </a:lnTo>
                <a:lnTo>
                  <a:pt x="4413990" y="2255297"/>
                </a:lnTo>
                <a:lnTo>
                  <a:pt x="4409704" y="2298256"/>
                </a:lnTo>
                <a:lnTo>
                  <a:pt x="4403274" y="2339067"/>
                </a:lnTo>
                <a:lnTo>
                  <a:pt x="4394701" y="2379878"/>
                </a:lnTo>
                <a:lnTo>
                  <a:pt x="4383985" y="2420690"/>
                </a:lnTo>
                <a:lnTo>
                  <a:pt x="4368983" y="2461501"/>
                </a:lnTo>
                <a:lnTo>
                  <a:pt x="4351837" y="2500164"/>
                </a:lnTo>
                <a:lnTo>
                  <a:pt x="4334691" y="2538827"/>
                </a:lnTo>
                <a:lnTo>
                  <a:pt x="4315402" y="2575343"/>
                </a:lnTo>
                <a:lnTo>
                  <a:pt x="4291827" y="2614006"/>
                </a:lnTo>
                <a:lnTo>
                  <a:pt x="4266108" y="2648373"/>
                </a:lnTo>
                <a:lnTo>
                  <a:pt x="4236103" y="2682740"/>
                </a:lnTo>
                <a:lnTo>
                  <a:pt x="4206098" y="2717108"/>
                </a:lnTo>
                <a:lnTo>
                  <a:pt x="4206098" y="2712812"/>
                </a:lnTo>
                <a:lnTo>
                  <a:pt x="4184666" y="2736439"/>
                </a:lnTo>
                <a:lnTo>
                  <a:pt x="4158948" y="2757919"/>
                </a:lnTo>
                <a:lnTo>
                  <a:pt x="4133229" y="2777251"/>
                </a:lnTo>
                <a:lnTo>
                  <a:pt x="4105367" y="2798730"/>
                </a:lnTo>
                <a:lnTo>
                  <a:pt x="4090365" y="2807322"/>
                </a:lnTo>
                <a:lnTo>
                  <a:pt x="4075362" y="2815914"/>
                </a:lnTo>
                <a:lnTo>
                  <a:pt x="4073219" y="2815914"/>
                </a:lnTo>
                <a:lnTo>
                  <a:pt x="4068932" y="2818062"/>
                </a:lnTo>
                <a:lnTo>
                  <a:pt x="4068932" y="2822358"/>
                </a:lnTo>
                <a:lnTo>
                  <a:pt x="4060360" y="2824506"/>
                </a:lnTo>
                <a:lnTo>
                  <a:pt x="4058216" y="2826654"/>
                </a:lnTo>
                <a:lnTo>
                  <a:pt x="4049644" y="2830950"/>
                </a:lnTo>
                <a:lnTo>
                  <a:pt x="4023925" y="2843837"/>
                </a:lnTo>
                <a:lnTo>
                  <a:pt x="3996063" y="2858873"/>
                </a:lnTo>
                <a:lnTo>
                  <a:pt x="3993920" y="2858873"/>
                </a:lnTo>
                <a:lnTo>
                  <a:pt x="3976774" y="2867465"/>
                </a:lnTo>
                <a:lnTo>
                  <a:pt x="3961772" y="2871761"/>
                </a:lnTo>
                <a:lnTo>
                  <a:pt x="3951056" y="2878205"/>
                </a:lnTo>
                <a:lnTo>
                  <a:pt x="3929623" y="2884649"/>
                </a:lnTo>
                <a:lnTo>
                  <a:pt x="3910335" y="2891092"/>
                </a:lnTo>
                <a:lnTo>
                  <a:pt x="3888902" y="2895388"/>
                </a:lnTo>
                <a:lnTo>
                  <a:pt x="3865327" y="2903980"/>
                </a:lnTo>
                <a:lnTo>
                  <a:pt x="3861041" y="2903980"/>
                </a:lnTo>
                <a:lnTo>
                  <a:pt x="3858897" y="2906128"/>
                </a:lnTo>
                <a:lnTo>
                  <a:pt x="3856754" y="2906128"/>
                </a:lnTo>
                <a:lnTo>
                  <a:pt x="3850325" y="2908276"/>
                </a:lnTo>
                <a:lnTo>
                  <a:pt x="3843895" y="2908276"/>
                </a:lnTo>
                <a:lnTo>
                  <a:pt x="3831036" y="2912572"/>
                </a:lnTo>
                <a:lnTo>
                  <a:pt x="3818176" y="2912572"/>
                </a:lnTo>
                <a:lnTo>
                  <a:pt x="3696013" y="2921164"/>
                </a:lnTo>
                <a:lnTo>
                  <a:pt x="3687440" y="2921164"/>
                </a:lnTo>
                <a:lnTo>
                  <a:pt x="3676724" y="2921164"/>
                </a:lnTo>
                <a:lnTo>
                  <a:pt x="3659578" y="2919016"/>
                </a:lnTo>
                <a:lnTo>
                  <a:pt x="3644576" y="2919016"/>
                </a:lnTo>
                <a:lnTo>
                  <a:pt x="3633860" y="2916868"/>
                </a:lnTo>
                <a:lnTo>
                  <a:pt x="3616714" y="2914720"/>
                </a:lnTo>
                <a:lnTo>
                  <a:pt x="3608141" y="2914720"/>
                </a:lnTo>
                <a:lnTo>
                  <a:pt x="3605998" y="2914720"/>
                </a:lnTo>
                <a:lnTo>
                  <a:pt x="3603855" y="2914720"/>
                </a:lnTo>
                <a:lnTo>
                  <a:pt x="3601712" y="2914720"/>
                </a:lnTo>
                <a:lnTo>
                  <a:pt x="3595282" y="2914720"/>
                </a:lnTo>
                <a:lnTo>
                  <a:pt x="3590996" y="2912572"/>
                </a:lnTo>
                <a:lnTo>
                  <a:pt x="3584566" y="2912572"/>
                </a:lnTo>
                <a:lnTo>
                  <a:pt x="3582423" y="2912572"/>
                </a:lnTo>
                <a:lnTo>
                  <a:pt x="3580279" y="2912572"/>
                </a:lnTo>
                <a:lnTo>
                  <a:pt x="3578136" y="2912572"/>
                </a:lnTo>
                <a:lnTo>
                  <a:pt x="3575993" y="2912572"/>
                </a:lnTo>
                <a:lnTo>
                  <a:pt x="3569563" y="2912572"/>
                </a:lnTo>
                <a:lnTo>
                  <a:pt x="3537415" y="2912572"/>
                </a:lnTo>
                <a:lnTo>
                  <a:pt x="3503124" y="2914720"/>
                </a:lnTo>
                <a:lnTo>
                  <a:pt x="3473119" y="2919016"/>
                </a:lnTo>
                <a:lnTo>
                  <a:pt x="3443114" y="2925460"/>
                </a:lnTo>
                <a:lnTo>
                  <a:pt x="3410965" y="2934052"/>
                </a:lnTo>
                <a:lnTo>
                  <a:pt x="3380960" y="2942643"/>
                </a:lnTo>
                <a:lnTo>
                  <a:pt x="3348812" y="2951235"/>
                </a:lnTo>
                <a:lnTo>
                  <a:pt x="3318807" y="2966271"/>
                </a:lnTo>
                <a:lnTo>
                  <a:pt x="3301662" y="2972715"/>
                </a:lnTo>
                <a:lnTo>
                  <a:pt x="3280229" y="2983455"/>
                </a:lnTo>
                <a:lnTo>
                  <a:pt x="3233079" y="3011378"/>
                </a:lnTo>
                <a:lnTo>
                  <a:pt x="3185928" y="3041450"/>
                </a:lnTo>
                <a:lnTo>
                  <a:pt x="3145207" y="3075817"/>
                </a:lnTo>
                <a:lnTo>
                  <a:pt x="3102342" y="3112332"/>
                </a:lnTo>
                <a:lnTo>
                  <a:pt x="3102342" y="3116628"/>
                </a:lnTo>
                <a:lnTo>
                  <a:pt x="3076624" y="3144552"/>
                </a:lnTo>
                <a:lnTo>
                  <a:pt x="3053049" y="3172475"/>
                </a:lnTo>
                <a:lnTo>
                  <a:pt x="3029473" y="3202546"/>
                </a:lnTo>
                <a:lnTo>
                  <a:pt x="3012327" y="3232618"/>
                </a:lnTo>
                <a:lnTo>
                  <a:pt x="2988752" y="3271281"/>
                </a:lnTo>
                <a:lnTo>
                  <a:pt x="2969463" y="3314240"/>
                </a:lnTo>
                <a:lnTo>
                  <a:pt x="2950174" y="3357199"/>
                </a:lnTo>
                <a:lnTo>
                  <a:pt x="2937315" y="3400159"/>
                </a:lnTo>
                <a:lnTo>
                  <a:pt x="2926598" y="3445266"/>
                </a:lnTo>
                <a:lnTo>
                  <a:pt x="2920169" y="3490373"/>
                </a:lnTo>
                <a:lnTo>
                  <a:pt x="2915882" y="3533332"/>
                </a:lnTo>
                <a:lnTo>
                  <a:pt x="2915882" y="3580587"/>
                </a:lnTo>
                <a:lnTo>
                  <a:pt x="2918026" y="3595623"/>
                </a:lnTo>
                <a:lnTo>
                  <a:pt x="2918026" y="3606363"/>
                </a:lnTo>
                <a:lnTo>
                  <a:pt x="2918026" y="3608511"/>
                </a:lnTo>
                <a:lnTo>
                  <a:pt x="2918026" y="3617102"/>
                </a:lnTo>
                <a:lnTo>
                  <a:pt x="2918026" y="3621398"/>
                </a:lnTo>
                <a:lnTo>
                  <a:pt x="2920169" y="3623546"/>
                </a:lnTo>
                <a:lnTo>
                  <a:pt x="2920169" y="3629990"/>
                </a:lnTo>
                <a:lnTo>
                  <a:pt x="2920169" y="3638582"/>
                </a:lnTo>
                <a:lnTo>
                  <a:pt x="2920169" y="3640730"/>
                </a:lnTo>
                <a:lnTo>
                  <a:pt x="2922312" y="3645026"/>
                </a:lnTo>
                <a:lnTo>
                  <a:pt x="2922312" y="3660062"/>
                </a:lnTo>
                <a:lnTo>
                  <a:pt x="2924455" y="3683689"/>
                </a:lnTo>
                <a:lnTo>
                  <a:pt x="2924455" y="3694429"/>
                </a:lnTo>
                <a:lnTo>
                  <a:pt x="2924455" y="3696577"/>
                </a:lnTo>
                <a:lnTo>
                  <a:pt x="2915882" y="3819011"/>
                </a:lnTo>
                <a:lnTo>
                  <a:pt x="2915882" y="3827602"/>
                </a:lnTo>
                <a:lnTo>
                  <a:pt x="2913739" y="3840490"/>
                </a:lnTo>
                <a:lnTo>
                  <a:pt x="2911596" y="3840490"/>
                </a:lnTo>
                <a:lnTo>
                  <a:pt x="2909453" y="3853378"/>
                </a:lnTo>
                <a:lnTo>
                  <a:pt x="2907310" y="3857674"/>
                </a:lnTo>
                <a:lnTo>
                  <a:pt x="2907310" y="3861970"/>
                </a:lnTo>
                <a:lnTo>
                  <a:pt x="2905166" y="3870562"/>
                </a:lnTo>
                <a:lnTo>
                  <a:pt x="2898737" y="3889893"/>
                </a:lnTo>
                <a:lnTo>
                  <a:pt x="2894450" y="3907077"/>
                </a:lnTo>
                <a:lnTo>
                  <a:pt x="2888021" y="3932852"/>
                </a:lnTo>
                <a:lnTo>
                  <a:pt x="2881591" y="3950036"/>
                </a:lnTo>
                <a:lnTo>
                  <a:pt x="2881591" y="3952184"/>
                </a:lnTo>
                <a:lnTo>
                  <a:pt x="2870875" y="3971516"/>
                </a:lnTo>
                <a:lnTo>
                  <a:pt x="2864445" y="3988699"/>
                </a:lnTo>
                <a:lnTo>
                  <a:pt x="2862302" y="3995143"/>
                </a:lnTo>
                <a:lnTo>
                  <a:pt x="2853729" y="4014475"/>
                </a:lnTo>
                <a:lnTo>
                  <a:pt x="2843013" y="4031658"/>
                </a:lnTo>
                <a:lnTo>
                  <a:pt x="2832297" y="4053138"/>
                </a:lnTo>
                <a:lnTo>
                  <a:pt x="2821581" y="4068174"/>
                </a:lnTo>
                <a:lnTo>
                  <a:pt x="2819438" y="4070322"/>
                </a:lnTo>
                <a:lnTo>
                  <a:pt x="2813008" y="4085357"/>
                </a:lnTo>
                <a:lnTo>
                  <a:pt x="2802292" y="4104689"/>
                </a:lnTo>
                <a:lnTo>
                  <a:pt x="2800149" y="4104689"/>
                </a:lnTo>
                <a:lnTo>
                  <a:pt x="2780860" y="4132613"/>
                </a:lnTo>
                <a:lnTo>
                  <a:pt x="2759428" y="4158388"/>
                </a:lnTo>
                <a:lnTo>
                  <a:pt x="2737996" y="4184164"/>
                </a:lnTo>
                <a:lnTo>
                  <a:pt x="2718707" y="4203495"/>
                </a:lnTo>
                <a:lnTo>
                  <a:pt x="2718707" y="4207791"/>
                </a:lnTo>
                <a:lnTo>
                  <a:pt x="2688702" y="4233567"/>
                </a:lnTo>
                <a:lnTo>
                  <a:pt x="2658697" y="4257194"/>
                </a:lnTo>
                <a:lnTo>
                  <a:pt x="2626548" y="4280822"/>
                </a:lnTo>
                <a:lnTo>
                  <a:pt x="2596543" y="4304449"/>
                </a:lnTo>
                <a:lnTo>
                  <a:pt x="2553679" y="4328077"/>
                </a:lnTo>
                <a:lnTo>
                  <a:pt x="2512958" y="4349556"/>
                </a:lnTo>
                <a:lnTo>
                  <a:pt x="2467950" y="4368888"/>
                </a:lnTo>
                <a:lnTo>
                  <a:pt x="2422943" y="4383924"/>
                </a:lnTo>
                <a:lnTo>
                  <a:pt x="2377935" y="4396811"/>
                </a:lnTo>
                <a:lnTo>
                  <a:pt x="2330785" y="4405403"/>
                </a:lnTo>
                <a:lnTo>
                  <a:pt x="2283634" y="4409699"/>
                </a:lnTo>
                <a:lnTo>
                  <a:pt x="2234340" y="4413995"/>
                </a:lnTo>
                <a:lnTo>
                  <a:pt x="2225767" y="4413995"/>
                </a:lnTo>
                <a:lnTo>
                  <a:pt x="2215051" y="4413995"/>
                </a:lnTo>
                <a:lnTo>
                  <a:pt x="2215051" y="4411847"/>
                </a:lnTo>
                <a:lnTo>
                  <a:pt x="2180760" y="4411847"/>
                </a:lnTo>
                <a:lnTo>
                  <a:pt x="2146468" y="4409699"/>
                </a:lnTo>
                <a:lnTo>
                  <a:pt x="2112177" y="4405403"/>
                </a:lnTo>
                <a:lnTo>
                  <a:pt x="2075742" y="4401107"/>
                </a:lnTo>
                <a:lnTo>
                  <a:pt x="2043594" y="4390368"/>
                </a:lnTo>
                <a:lnTo>
                  <a:pt x="2009302" y="4381776"/>
                </a:lnTo>
                <a:lnTo>
                  <a:pt x="1975011" y="4373184"/>
                </a:lnTo>
                <a:lnTo>
                  <a:pt x="1945006" y="4358148"/>
                </a:lnTo>
                <a:lnTo>
                  <a:pt x="1923574" y="4351704"/>
                </a:lnTo>
                <a:lnTo>
                  <a:pt x="1904285" y="4340965"/>
                </a:lnTo>
                <a:lnTo>
                  <a:pt x="1854991" y="4315189"/>
                </a:lnTo>
                <a:lnTo>
                  <a:pt x="1807840" y="4282970"/>
                </a:lnTo>
                <a:lnTo>
                  <a:pt x="1760689" y="4248602"/>
                </a:lnTo>
                <a:lnTo>
                  <a:pt x="1719968" y="4212087"/>
                </a:lnTo>
                <a:lnTo>
                  <a:pt x="1713539" y="4203495"/>
                </a:lnTo>
                <a:lnTo>
                  <a:pt x="1689963" y="4177720"/>
                </a:lnTo>
                <a:lnTo>
                  <a:pt x="1666388" y="4154092"/>
                </a:lnTo>
                <a:lnTo>
                  <a:pt x="1644956" y="4124021"/>
                </a:lnTo>
                <a:lnTo>
                  <a:pt x="1625667" y="4096097"/>
                </a:lnTo>
                <a:lnTo>
                  <a:pt x="1604235" y="4066026"/>
                </a:lnTo>
                <a:lnTo>
                  <a:pt x="1589232" y="4035954"/>
                </a:lnTo>
                <a:lnTo>
                  <a:pt x="1572087" y="4005883"/>
                </a:lnTo>
                <a:lnTo>
                  <a:pt x="1559227" y="3975812"/>
                </a:lnTo>
                <a:lnTo>
                  <a:pt x="1559227" y="3973664"/>
                </a:lnTo>
                <a:lnTo>
                  <a:pt x="1546368" y="3941444"/>
                </a:lnTo>
                <a:lnTo>
                  <a:pt x="1535652" y="3907077"/>
                </a:lnTo>
                <a:lnTo>
                  <a:pt x="1524936" y="3874857"/>
                </a:lnTo>
                <a:lnTo>
                  <a:pt x="1518506" y="3840490"/>
                </a:lnTo>
                <a:lnTo>
                  <a:pt x="1514220" y="3808271"/>
                </a:lnTo>
                <a:lnTo>
                  <a:pt x="1509933" y="3773903"/>
                </a:lnTo>
                <a:lnTo>
                  <a:pt x="1507790" y="3737388"/>
                </a:lnTo>
                <a:lnTo>
                  <a:pt x="1505647" y="3703021"/>
                </a:lnTo>
                <a:lnTo>
                  <a:pt x="1507790" y="3664358"/>
                </a:lnTo>
                <a:lnTo>
                  <a:pt x="1509933" y="3629990"/>
                </a:lnTo>
                <a:lnTo>
                  <a:pt x="1514220" y="3597771"/>
                </a:lnTo>
                <a:lnTo>
                  <a:pt x="1518506" y="3561256"/>
                </a:lnTo>
                <a:lnTo>
                  <a:pt x="1524936" y="3529036"/>
                </a:lnTo>
                <a:lnTo>
                  <a:pt x="1537795" y="3494669"/>
                </a:lnTo>
                <a:lnTo>
                  <a:pt x="1548511" y="3456006"/>
                </a:lnTo>
                <a:lnTo>
                  <a:pt x="1561370" y="3425934"/>
                </a:lnTo>
                <a:lnTo>
                  <a:pt x="1574230" y="3395863"/>
                </a:lnTo>
                <a:lnTo>
                  <a:pt x="1589232" y="3365791"/>
                </a:lnTo>
                <a:lnTo>
                  <a:pt x="1606378" y="3335720"/>
                </a:lnTo>
                <a:lnTo>
                  <a:pt x="1625667" y="3307796"/>
                </a:lnTo>
                <a:lnTo>
                  <a:pt x="1644956" y="3279873"/>
                </a:lnTo>
                <a:lnTo>
                  <a:pt x="1666388" y="3251950"/>
                </a:lnTo>
                <a:lnTo>
                  <a:pt x="1689963" y="3226174"/>
                </a:lnTo>
                <a:lnTo>
                  <a:pt x="1711396" y="3200399"/>
                </a:lnTo>
                <a:lnTo>
                  <a:pt x="1732828" y="3178919"/>
                </a:lnTo>
                <a:lnTo>
                  <a:pt x="1760689" y="3157439"/>
                </a:lnTo>
                <a:lnTo>
                  <a:pt x="1786408" y="3135960"/>
                </a:lnTo>
                <a:lnTo>
                  <a:pt x="1812127" y="3118776"/>
                </a:lnTo>
                <a:lnTo>
                  <a:pt x="1814270" y="3116628"/>
                </a:lnTo>
                <a:lnTo>
                  <a:pt x="1822843" y="3110184"/>
                </a:lnTo>
                <a:lnTo>
                  <a:pt x="1833559" y="3103740"/>
                </a:lnTo>
                <a:lnTo>
                  <a:pt x="1837845" y="3101592"/>
                </a:lnTo>
                <a:lnTo>
                  <a:pt x="1850705" y="3095149"/>
                </a:lnTo>
                <a:lnTo>
                  <a:pt x="1865707" y="3082261"/>
                </a:lnTo>
                <a:lnTo>
                  <a:pt x="1887139" y="3073669"/>
                </a:lnTo>
                <a:lnTo>
                  <a:pt x="1904285" y="3065077"/>
                </a:lnTo>
                <a:lnTo>
                  <a:pt x="1923574" y="3054337"/>
                </a:lnTo>
                <a:lnTo>
                  <a:pt x="1936433" y="3050041"/>
                </a:lnTo>
                <a:lnTo>
                  <a:pt x="1942863" y="3045745"/>
                </a:lnTo>
                <a:lnTo>
                  <a:pt x="1957865" y="3041450"/>
                </a:lnTo>
                <a:lnTo>
                  <a:pt x="1966438" y="3037154"/>
                </a:lnTo>
                <a:lnTo>
                  <a:pt x="1968581" y="3037154"/>
                </a:lnTo>
                <a:lnTo>
                  <a:pt x="1972868" y="3032858"/>
                </a:lnTo>
                <a:lnTo>
                  <a:pt x="1981441" y="3030710"/>
                </a:lnTo>
                <a:lnTo>
                  <a:pt x="1990013" y="3028562"/>
                </a:lnTo>
                <a:lnTo>
                  <a:pt x="1992157" y="3028562"/>
                </a:lnTo>
                <a:lnTo>
                  <a:pt x="2017875" y="3019970"/>
                </a:lnTo>
                <a:lnTo>
                  <a:pt x="2045737" y="3013526"/>
                </a:lnTo>
                <a:lnTo>
                  <a:pt x="2056453" y="3011378"/>
                </a:lnTo>
                <a:lnTo>
                  <a:pt x="2067169" y="3009230"/>
                </a:lnTo>
                <a:lnTo>
                  <a:pt x="2073599" y="3004934"/>
                </a:lnTo>
                <a:lnTo>
                  <a:pt x="2086458" y="3000638"/>
                </a:lnTo>
                <a:lnTo>
                  <a:pt x="2099317" y="3000638"/>
                </a:lnTo>
                <a:lnTo>
                  <a:pt x="2225767" y="2992047"/>
                </a:lnTo>
                <a:lnTo>
                  <a:pt x="2230054" y="2992047"/>
                </a:lnTo>
                <a:lnTo>
                  <a:pt x="2240770" y="2992047"/>
                </a:lnTo>
                <a:lnTo>
                  <a:pt x="2260059" y="2994194"/>
                </a:lnTo>
                <a:lnTo>
                  <a:pt x="2279347" y="2994194"/>
                </a:lnTo>
                <a:lnTo>
                  <a:pt x="2290064" y="2996342"/>
                </a:lnTo>
                <a:lnTo>
                  <a:pt x="2309352" y="2998490"/>
                </a:lnTo>
                <a:lnTo>
                  <a:pt x="2311496" y="2998490"/>
                </a:lnTo>
                <a:lnTo>
                  <a:pt x="2315782" y="2998490"/>
                </a:lnTo>
                <a:lnTo>
                  <a:pt x="2326498" y="3000638"/>
                </a:lnTo>
                <a:lnTo>
                  <a:pt x="2335071" y="3000638"/>
                </a:lnTo>
                <a:lnTo>
                  <a:pt x="2337214" y="3000638"/>
                </a:lnTo>
                <a:lnTo>
                  <a:pt x="2339357" y="3000638"/>
                </a:lnTo>
                <a:lnTo>
                  <a:pt x="2341501" y="3000638"/>
                </a:lnTo>
                <a:lnTo>
                  <a:pt x="2345787" y="3000638"/>
                </a:lnTo>
                <a:lnTo>
                  <a:pt x="2352217" y="3000638"/>
                </a:lnTo>
                <a:lnTo>
                  <a:pt x="2384365" y="3000638"/>
                </a:lnTo>
                <a:lnTo>
                  <a:pt x="2414370" y="2998490"/>
                </a:lnTo>
                <a:lnTo>
                  <a:pt x="2446518" y="2994194"/>
                </a:lnTo>
                <a:lnTo>
                  <a:pt x="2476523" y="2987751"/>
                </a:lnTo>
                <a:lnTo>
                  <a:pt x="2510815" y="2979159"/>
                </a:lnTo>
                <a:lnTo>
                  <a:pt x="2540820" y="2970567"/>
                </a:lnTo>
                <a:lnTo>
                  <a:pt x="2570825" y="2961975"/>
                </a:lnTo>
                <a:lnTo>
                  <a:pt x="2600830" y="2946939"/>
                </a:lnTo>
                <a:lnTo>
                  <a:pt x="2620119" y="2940495"/>
                </a:lnTo>
                <a:lnTo>
                  <a:pt x="2637264" y="2931904"/>
                </a:lnTo>
                <a:lnTo>
                  <a:pt x="2686558" y="2903980"/>
                </a:lnTo>
                <a:lnTo>
                  <a:pt x="2733709" y="2871761"/>
                </a:lnTo>
                <a:lnTo>
                  <a:pt x="2776573" y="2837393"/>
                </a:lnTo>
                <a:lnTo>
                  <a:pt x="2817295" y="2800878"/>
                </a:lnTo>
                <a:lnTo>
                  <a:pt x="2817295" y="2798730"/>
                </a:lnTo>
                <a:lnTo>
                  <a:pt x="2843013" y="2770807"/>
                </a:lnTo>
                <a:lnTo>
                  <a:pt x="2866588" y="2742883"/>
                </a:lnTo>
                <a:lnTo>
                  <a:pt x="2888021" y="2710664"/>
                </a:lnTo>
                <a:lnTo>
                  <a:pt x="2909453" y="2680592"/>
                </a:lnTo>
                <a:lnTo>
                  <a:pt x="2933028" y="2641929"/>
                </a:lnTo>
                <a:lnTo>
                  <a:pt x="2950174" y="2598970"/>
                </a:lnTo>
                <a:lnTo>
                  <a:pt x="2967320" y="2558159"/>
                </a:lnTo>
                <a:lnTo>
                  <a:pt x="2980179" y="2513052"/>
                </a:lnTo>
                <a:lnTo>
                  <a:pt x="2993039" y="2470093"/>
                </a:lnTo>
                <a:lnTo>
                  <a:pt x="2999468" y="2427133"/>
                </a:lnTo>
                <a:lnTo>
                  <a:pt x="3003755" y="2382026"/>
                </a:lnTo>
                <a:lnTo>
                  <a:pt x="3003755" y="2334771"/>
                </a:lnTo>
                <a:lnTo>
                  <a:pt x="3001611" y="2319735"/>
                </a:lnTo>
                <a:lnTo>
                  <a:pt x="3001611" y="2304700"/>
                </a:lnTo>
                <a:lnTo>
                  <a:pt x="3001611" y="2302552"/>
                </a:lnTo>
                <a:lnTo>
                  <a:pt x="2999468" y="2293960"/>
                </a:lnTo>
                <a:lnTo>
                  <a:pt x="2999468" y="2291812"/>
                </a:lnTo>
                <a:lnTo>
                  <a:pt x="2999468" y="2276776"/>
                </a:lnTo>
                <a:lnTo>
                  <a:pt x="2999468" y="2274628"/>
                </a:lnTo>
                <a:lnTo>
                  <a:pt x="2997325" y="2257445"/>
                </a:lnTo>
                <a:lnTo>
                  <a:pt x="2995182" y="2244557"/>
                </a:lnTo>
                <a:lnTo>
                  <a:pt x="2995182" y="2229521"/>
                </a:lnTo>
                <a:lnTo>
                  <a:pt x="2995182" y="2220929"/>
                </a:lnTo>
                <a:lnTo>
                  <a:pt x="2995182" y="2216633"/>
                </a:lnTo>
                <a:lnTo>
                  <a:pt x="3003755" y="2098496"/>
                </a:lnTo>
                <a:lnTo>
                  <a:pt x="3003755" y="2096348"/>
                </a:lnTo>
                <a:lnTo>
                  <a:pt x="3003755" y="2087756"/>
                </a:lnTo>
                <a:lnTo>
                  <a:pt x="3010184" y="2066276"/>
                </a:lnTo>
                <a:lnTo>
                  <a:pt x="3014471" y="2051241"/>
                </a:lnTo>
                <a:lnTo>
                  <a:pt x="3018757" y="2031909"/>
                </a:lnTo>
                <a:lnTo>
                  <a:pt x="3025187" y="2003986"/>
                </a:lnTo>
                <a:lnTo>
                  <a:pt x="3031616" y="1978210"/>
                </a:lnTo>
                <a:lnTo>
                  <a:pt x="3040189" y="1961026"/>
                </a:lnTo>
                <a:lnTo>
                  <a:pt x="3048762" y="1943843"/>
                </a:lnTo>
                <a:lnTo>
                  <a:pt x="3055192" y="1924511"/>
                </a:lnTo>
                <a:lnTo>
                  <a:pt x="3057335" y="1922363"/>
                </a:lnTo>
                <a:lnTo>
                  <a:pt x="3065908" y="1905179"/>
                </a:lnTo>
                <a:lnTo>
                  <a:pt x="3076624" y="1881552"/>
                </a:lnTo>
                <a:lnTo>
                  <a:pt x="3089483" y="1860072"/>
                </a:lnTo>
                <a:lnTo>
                  <a:pt x="3098056" y="1845037"/>
                </a:lnTo>
                <a:lnTo>
                  <a:pt x="3100199" y="1842889"/>
                </a:lnTo>
                <a:lnTo>
                  <a:pt x="3100199" y="1840741"/>
                </a:lnTo>
                <a:lnTo>
                  <a:pt x="3106629" y="1825705"/>
                </a:lnTo>
                <a:lnTo>
                  <a:pt x="3119488" y="1810669"/>
                </a:lnTo>
                <a:lnTo>
                  <a:pt x="3121631" y="1806373"/>
                </a:lnTo>
                <a:lnTo>
                  <a:pt x="3140920" y="1780598"/>
                </a:lnTo>
                <a:lnTo>
                  <a:pt x="3158066" y="1754822"/>
                </a:lnTo>
                <a:lnTo>
                  <a:pt x="3179498" y="1731195"/>
                </a:lnTo>
                <a:lnTo>
                  <a:pt x="3200930" y="1709715"/>
                </a:lnTo>
                <a:lnTo>
                  <a:pt x="3203074" y="1709715"/>
                </a:lnTo>
                <a:lnTo>
                  <a:pt x="3230935" y="1681792"/>
                </a:lnTo>
                <a:lnTo>
                  <a:pt x="3260940" y="1656016"/>
                </a:lnTo>
                <a:lnTo>
                  <a:pt x="3290945" y="1632389"/>
                </a:lnTo>
                <a:lnTo>
                  <a:pt x="3323094" y="1608761"/>
                </a:lnTo>
                <a:lnTo>
                  <a:pt x="3365958" y="1585134"/>
                </a:lnTo>
                <a:lnTo>
                  <a:pt x="3410965" y="1561506"/>
                </a:lnTo>
                <a:lnTo>
                  <a:pt x="3458116" y="1544322"/>
                </a:lnTo>
                <a:lnTo>
                  <a:pt x="3505267" y="1527139"/>
                </a:lnTo>
                <a:lnTo>
                  <a:pt x="3552418" y="1514251"/>
                </a:lnTo>
                <a:lnTo>
                  <a:pt x="3603855" y="1505659"/>
                </a:lnTo>
                <a:lnTo>
                  <a:pt x="3653149" y="1501363"/>
                </a:lnTo>
                <a:close/>
                <a:moveTo>
                  <a:pt x="3704060" y="19306"/>
                </a:moveTo>
                <a:lnTo>
                  <a:pt x="3738376" y="21451"/>
                </a:lnTo>
                <a:lnTo>
                  <a:pt x="3774838" y="23596"/>
                </a:lnTo>
                <a:lnTo>
                  <a:pt x="3809154" y="25741"/>
                </a:lnTo>
                <a:lnTo>
                  <a:pt x="3843471" y="34320"/>
                </a:lnTo>
                <a:lnTo>
                  <a:pt x="3875643" y="40754"/>
                </a:lnTo>
                <a:lnTo>
                  <a:pt x="3909960" y="49333"/>
                </a:lnTo>
                <a:lnTo>
                  <a:pt x="3942132" y="62202"/>
                </a:lnTo>
                <a:lnTo>
                  <a:pt x="3974304" y="72926"/>
                </a:lnTo>
                <a:lnTo>
                  <a:pt x="3993607" y="81505"/>
                </a:lnTo>
                <a:lnTo>
                  <a:pt x="4017199" y="92229"/>
                </a:lnTo>
                <a:lnTo>
                  <a:pt x="4042937" y="105098"/>
                </a:lnTo>
                <a:lnTo>
                  <a:pt x="4068674" y="120112"/>
                </a:lnTo>
                <a:lnTo>
                  <a:pt x="4092267" y="135125"/>
                </a:lnTo>
                <a:lnTo>
                  <a:pt x="4113715" y="152284"/>
                </a:lnTo>
                <a:lnTo>
                  <a:pt x="4137308" y="169442"/>
                </a:lnTo>
                <a:lnTo>
                  <a:pt x="4160901" y="186600"/>
                </a:lnTo>
                <a:lnTo>
                  <a:pt x="4184493" y="208048"/>
                </a:lnTo>
                <a:lnTo>
                  <a:pt x="4205941" y="227352"/>
                </a:lnTo>
                <a:lnTo>
                  <a:pt x="4233824" y="257379"/>
                </a:lnTo>
                <a:lnTo>
                  <a:pt x="4259561" y="289551"/>
                </a:lnTo>
                <a:lnTo>
                  <a:pt x="4285299" y="319578"/>
                </a:lnTo>
                <a:lnTo>
                  <a:pt x="4306747" y="353895"/>
                </a:lnTo>
                <a:lnTo>
                  <a:pt x="4323905" y="388212"/>
                </a:lnTo>
                <a:lnTo>
                  <a:pt x="4343208" y="422528"/>
                </a:lnTo>
                <a:lnTo>
                  <a:pt x="4360366" y="458990"/>
                </a:lnTo>
                <a:lnTo>
                  <a:pt x="4373235" y="495452"/>
                </a:lnTo>
                <a:lnTo>
                  <a:pt x="4388249" y="542637"/>
                </a:lnTo>
                <a:lnTo>
                  <a:pt x="4398973" y="589823"/>
                </a:lnTo>
                <a:lnTo>
                  <a:pt x="4407552" y="637008"/>
                </a:lnTo>
                <a:lnTo>
                  <a:pt x="4411841" y="686339"/>
                </a:lnTo>
                <a:lnTo>
                  <a:pt x="4413986" y="735669"/>
                </a:lnTo>
                <a:lnTo>
                  <a:pt x="4411841" y="785000"/>
                </a:lnTo>
                <a:lnTo>
                  <a:pt x="4407552" y="834330"/>
                </a:lnTo>
                <a:lnTo>
                  <a:pt x="4396828" y="883660"/>
                </a:lnTo>
                <a:lnTo>
                  <a:pt x="4386104" y="928701"/>
                </a:lnTo>
                <a:lnTo>
                  <a:pt x="4368946" y="978031"/>
                </a:lnTo>
                <a:lnTo>
                  <a:pt x="4349642" y="1023072"/>
                </a:lnTo>
                <a:lnTo>
                  <a:pt x="4328194" y="1070258"/>
                </a:lnTo>
                <a:lnTo>
                  <a:pt x="4304602" y="1111009"/>
                </a:lnTo>
                <a:lnTo>
                  <a:pt x="4272430" y="1153905"/>
                </a:lnTo>
                <a:lnTo>
                  <a:pt x="4240258" y="1194656"/>
                </a:lnTo>
                <a:lnTo>
                  <a:pt x="4205941" y="1233263"/>
                </a:lnTo>
                <a:lnTo>
                  <a:pt x="4178059" y="1259000"/>
                </a:lnTo>
                <a:lnTo>
                  <a:pt x="4145887" y="1286883"/>
                </a:lnTo>
                <a:lnTo>
                  <a:pt x="4111570" y="1312620"/>
                </a:lnTo>
                <a:lnTo>
                  <a:pt x="4081543" y="1329779"/>
                </a:lnTo>
                <a:lnTo>
                  <a:pt x="4040792" y="1355516"/>
                </a:lnTo>
                <a:lnTo>
                  <a:pt x="3995752" y="1379109"/>
                </a:lnTo>
                <a:lnTo>
                  <a:pt x="3948566" y="1398412"/>
                </a:lnTo>
                <a:lnTo>
                  <a:pt x="3901381" y="1411281"/>
                </a:lnTo>
                <a:lnTo>
                  <a:pt x="3854195" y="1424150"/>
                </a:lnTo>
                <a:lnTo>
                  <a:pt x="3804865" y="1432729"/>
                </a:lnTo>
                <a:lnTo>
                  <a:pt x="3753390" y="1437019"/>
                </a:lnTo>
                <a:lnTo>
                  <a:pt x="3704060" y="1441308"/>
                </a:lnTo>
                <a:lnTo>
                  <a:pt x="3665453" y="1441308"/>
                </a:lnTo>
                <a:lnTo>
                  <a:pt x="3631137" y="1437019"/>
                </a:lnTo>
                <a:lnTo>
                  <a:pt x="3596820" y="1432729"/>
                </a:lnTo>
                <a:lnTo>
                  <a:pt x="3564648" y="1426295"/>
                </a:lnTo>
                <a:lnTo>
                  <a:pt x="3528187" y="1419860"/>
                </a:lnTo>
                <a:lnTo>
                  <a:pt x="3496015" y="1409136"/>
                </a:lnTo>
                <a:lnTo>
                  <a:pt x="3463843" y="1400557"/>
                </a:lnTo>
                <a:lnTo>
                  <a:pt x="3431671" y="1387688"/>
                </a:lnTo>
                <a:lnTo>
                  <a:pt x="3412368" y="1379109"/>
                </a:lnTo>
                <a:lnTo>
                  <a:pt x="3388775" y="1368385"/>
                </a:lnTo>
                <a:lnTo>
                  <a:pt x="3363037" y="1353371"/>
                </a:lnTo>
                <a:lnTo>
                  <a:pt x="3337300" y="1340503"/>
                </a:lnTo>
                <a:lnTo>
                  <a:pt x="3313707" y="1325489"/>
                </a:lnTo>
                <a:lnTo>
                  <a:pt x="3287970" y="1310475"/>
                </a:lnTo>
                <a:lnTo>
                  <a:pt x="3264377" y="1291172"/>
                </a:lnTo>
                <a:lnTo>
                  <a:pt x="3242929" y="1271869"/>
                </a:lnTo>
                <a:lnTo>
                  <a:pt x="3221481" y="1254711"/>
                </a:lnTo>
                <a:lnTo>
                  <a:pt x="3200033" y="1233263"/>
                </a:lnTo>
                <a:lnTo>
                  <a:pt x="3176440" y="1209670"/>
                </a:lnTo>
                <a:lnTo>
                  <a:pt x="3154993" y="1186077"/>
                </a:lnTo>
                <a:lnTo>
                  <a:pt x="3135689" y="1160339"/>
                </a:lnTo>
                <a:lnTo>
                  <a:pt x="3118531" y="1134602"/>
                </a:lnTo>
                <a:lnTo>
                  <a:pt x="3097083" y="1102430"/>
                </a:lnTo>
                <a:lnTo>
                  <a:pt x="3077780" y="1070258"/>
                </a:lnTo>
                <a:lnTo>
                  <a:pt x="3062766" y="1035941"/>
                </a:lnTo>
                <a:lnTo>
                  <a:pt x="3045608" y="1001624"/>
                </a:lnTo>
                <a:lnTo>
                  <a:pt x="3030595" y="967307"/>
                </a:lnTo>
                <a:lnTo>
                  <a:pt x="3019871" y="930846"/>
                </a:lnTo>
                <a:lnTo>
                  <a:pt x="3011291" y="894384"/>
                </a:lnTo>
                <a:lnTo>
                  <a:pt x="3002712" y="860068"/>
                </a:lnTo>
                <a:lnTo>
                  <a:pt x="2996278" y="817172"/>
                </a:lnTo>
                <a:lnTo>
                  <a:pt x="2994133" y="776420"/>
                </a:lnTo>
                <a:lnTo>
                  <a:pt x="2991988" y="733524"/>
                </a:lnTo>
                <a:lnTo>
                  <a:pt x="2994133" y="690628"/>
                </a:lnTo>
                <a:lnTo>
                  <a:pt x="2996278" y="649877"/>
                </a:lnTo>
                <a:lnTo>
                  <a:pt x="3002712" y="606981"/>
                </a:lnTo>
                <a:lnTo>
                  <a:pt x="3011291" y="566230"/>
                </a:lnTo>
                <a:lnTo>
                  <a:pt x="3022015" y="523334"/>
                </a:lnTo>
                <a:lnTo>
                  <a:pt x="3037029" y="484728"/>
                </a:lnTo>
                <a:lnTo>
                  <a:pt x="3052042" y="443976"/>
                </a:lnTo>
                <a:lnTo>
                  <a:pt x="3069201" y="407515"/>
                </a:lnTo>
                <a:lnTo>
                  <a:pt x="3090649" y="366764"/>
                </a:lnTo>
                <a:lnTo>
                  <a:pt x="3114241" y="332447"/>
                </a:lnTo>
                <a:lnTo>
                  <a:pt x="3142124" y="293840"/>
                </a:lnTo>
                <a:lnTo>
                  <a:pt x="3170006" y="261668"/>
                </a:lnTo>
                <a:lnTo>
                  <a:pt x="3200033" y="229496"/>
                </a:lnTo>
                <a:lnTo>
                  <a:pt x="3200033" y="227352"/>
                </a:lnTo>
                <a:lnTo>
                  <a:pt x="3227916" y="201614"/>
                </a:lnTo>
                <a:lnTo>
                  <a:pt x="3257943" y="175876"/>
                </a:lnTo>
                <a:lnTo>
                  <a:pt x="3290115" y="150139"/>
                </a:lnTo>
                <a:lnTo>
                  <a:pt x="3320142" y="128691"/>
                </a:lnTo>
                <a:lnTo>
                  <a:pt x="3365182" y="102953"/>
                </a:lnTo>
                <a:lnTo>
                  <a:pt x="3410223" y="81505"/>
                </a:lnTo>
                <a:lnTo>
                  <a:pt x="3457408" y="64347"/>
                </a:lnTo>
                <a:lnTo>
                  <a:pt x="3502449" y="47189"/>
                </a:lnTo>
                <a:lnTo>
                  <a:pt x="3551779" y="36465"/>
                </a:lnTo>
                <a:lnTo>
                  <a:pt x="3601110" y="25741"/>
                </a:lnTo>
                <a:lnTo>
                  <a:pt x="3652585" y="21451"/>
                </a:lnTo>
                <a:close/>
                <a:moveTo>
                  <a:pt x="2211808" y="12869"/>
                </a:moveTo>
                <a:lnTo>
                  <a:pt x="2248242" y="15014"/>
                </a:lnTo>
                <a:lnTo>
                  <a:pt x="2282534" y="17158"/>
                </a:lnTo>
                <a:lnTo>
                  <a:pt x="2316825" y="19303"/>
                </a:lnTo>
                <a:lnTo>
                  <a:pt x="2351117" y="25738"/>
                </a:lnTo>
                <a:lnTo>
                  <a:pt x="2385408" y="34317"/>
                </a:lnTo>
                <a:lnTo>
                  <a:pt x="2417556" y="42896"/>
                </a:lnTo>
                <a:lnTo>
                  <a:pt x="2449705" y="53620"/>
                </a:lnTo>
                <a:lnTo>
                  <a:pt x="2483996" y="66489"/>
                </a:lnTo>
                <a:lnTo>
                  <a:pt x="2503285" y="75068"/>
                </a:lnTo>
                <a:lnTo>
                  <a:pt x="2524717" y="83647"/>
                </a:lnTo>
                <a:lnTo>
                  <a:pt x="2550436" y="98661"/>
                </a:lnTo>
                <a:lnTo>
                  <a:pt x="2576154" y="113675"/>
                </a:lnTo>
                <a:lnTo>
                  <a:pt x="2599730" y="128688"/>
                </a:lnTo>
                <a:lnTo>
                  <a:pt x="2625448" y="145846"/>
                </a:lnTo>
                <a:lnTo>
                  <a:pt x="2649024" y="160860"/>
                </a:lnTo>
                <a:lnTo>
                  <a:pt x="2670456" y="180163"/>
                </a:lnTo>
                <a:lnTo>
                  <a:pt x="2694031" y="199466"/>
                </a:lnTo>
                <a:lnTo>
                  <a:pt x="2713320" y="220914"/>
                </a:lnTo>
                <a:lnTo>
                  <a:pt x="2736895" y="246652"/>
                </a:lnTo>
                <a:lnTo>
                  <a:pt x="2760471" y="270245"/>
                </a:lnTo>
                <a:lnTo>
                  <a:pt x="2781903" y="300272"/>
                </a:lnTo>
                <a:lnTo>
                  <a:pt x="2801192" y="326009"/>
                </a:lnTo>
                <a:lnTo>
                  <a:pt x="2820481" y="358181"/>
                </a:lnTo>
                <a:lnTo>
                  <a:pt x="2839770" y="390353"/>
                </a:lnTo>
                <a:lnTo>
                  <a:pt x="2856915" y="422525"/>
                </a:lnTo>
                <a:lnTo>
                  <a:pt x="2869775" y="458987"/>
                </a:lnTo>
                <a:lnTo>
                  <a:pt x="2884777" y="495448"/>
                </a:lnTo>
                <a:lnTo>
                  <a:pt x="2895493" y="529765"/>
                </a:lnTo>
                <a:lnTo>
                  <a:pt x="2906209" y="566226"/>
                </a:lnTo>
                <a:lnTo>
                  <a:pt x="2912639" y="602688"/>
                </a:lnTo>
                <a:lnTo>
                  <a:pt x="2916925" y="641294"/>
                </a:lnTo>
                <a:lnTo>
                  <a:pt x="2921212" y="684190"/>
                </a:lnTo>
                <a:lnTo>
                  <a:pt x="2921212" y="727086"/>
                </a:lnTo>
                <a:lnTo>
                  <a:pt x="2921212" y="767837"/>
                </a:lnTo>
                <a:lnTo>
                  <a:pt x="2916925" y="810733"/>
                </a:lnTo>
                <a:lnTo>
                  <a:pt x="2910496" y="851484"/>
                </a:lnTo>
                <a:lnTo>
                  <a:pt x="2899780" y="892235"/>
                </a:lnTo>
                <a:lnTo>
                  <a:pt x="2891207" y="930842"/>
                </a:lnTo>
                <a:lnTo>
                  <a:pt x="2878348" y="973738"/>
                </a:lnTo>
                <a:lnTo>
                  <a:pt x="2861202" y="1010199"/>
                </a:lnTo>
                <a:lnTo>
                  <a:pt x="2841913" y="1050950"/>
                </a:lnTo>
                <a:lnTo>
                  <a:pt x="2820481" y="1087412"/>
                </a:lnTo>
                <a:lnTo>
                  <a:pt x="2799049" y="1126018"/>
                </a:lnTo>
                <a:lnTo>
                  <a:pt x="2773330" y="1160335"/>
                </a:lnTo>
                <a:lnTo>
                  <a:pt x="2745468" y="1192507"/>
                </a:lnTo>
                <a:lnTo>
                  <a:pt x="2713320" y="1224679"/>
                </a:lnTo>
                <a:lnTo>
                  <a:pt x="2691888" y="1246127"/>
                </a:lnTo>
                <a:lnTo>
                  <a:pt x="2668312" y="1267575"/>
                </a:lnTo>
                <a:lnTo>
                  <a:pt x="2642594" y="1289023"/>
                </a:lnTo>
                <a:lnTo>
                  <a:pt x="2614732" y="1306181"/>
                </a:lnTo>
                <a:lnTo>
                  <a:pt x="2595443" y="1319050"/>
                </a:lnTo>
                <a:lnTo>
                  <a:pt x="2582584" y="1327629"/>
                </a:lnTo>
                <a:lnTo>
                  <a:pt x="2580441" y="1327629"/>
                </a:lnTo>
                <a:lnTo>
                  <a:pt x="2576154" y="1329774"/>
                </a:lnTo>
                <a:lnTo>
                  <a:pt x="2576154" y="1331919"/>
                </a:lnTo>
                <a:lnTo>
                  <a:pt x="2574011" y="1329774"/>
                </a:lnTo>
                <a:lnTo>
                  <a:pt x="2567581" y="1336208"/>
                </a:lnTo>
                <a:lnTo>
                  <a:pt x="2567581" y="1338353"/>
                </a:lnTo>
                <a:lnTo>
                  <a:pt x="2556865" y="1342643"/>
                </a:lnTo>
                <a:lnTo>
                  <a:pt x="2554722" y="1342643"/>
                </a:lnTo>
                <a:lnTo>
                  <a:pt x="2529003" y="1355511"/>
                </a:lnTo>
                <a:lnTo>
                  <a:pt x="2503285" y="1368380"/>
                </a:lnTo>
                <a:lnTo>
                  <a:pt x="2503285" y="1370525"/>
                </a:lnTo>
                <a:lnTo>
                  <a:pt x="2501142" y="1370525"/>
                </a:lnTo>
                <a:lnTo>
                  <a:pt x="2483996" y="1376959"/>
                </a:lnTo>
                <a:lnTo>
                  <a:pt x="2468993" y="1383394"/>
                </a:lnTo>
                <a:lnTo>
                  <a:pt x="2460421" y="1389828"/>
                </a:lnTo>
                <a:lnTo>
                  <a:pt x="2460421" y="1385538"/>
                </a:lnTo>
                <a:lnTo>
                  <a:pt x="2438988" y="1396262"/>
                </a:lnTo>
                <a:lnTo>
                  <a:pt x="2417556" y="1400552"/>
                </a:lnTo>
                <a:lnTo>
                  <a:pt x="2396124" y="1406986"/>
                </a:lnTo>
                <a:lnTo>
                  <a:pt x="2374692" y="1411276"/>
                </a:lnTo>
                <a:lnTo>
                  <a:pt x="2368262" y="1413421"/>
                </a:lnTo>
                <a:lnTo>
                  <a:pt x="2366119" y="1413421"/>
                </a:lnTo>
                <a:lnTo>
                  <a:pt x="2363976" y="1417710"/>
                </a:lnTo>
                <a:lnTo>
                  <a:pt x="2359689" y="1417710"/>
                </a:lnTo>
                <a:lnTo>
                  <a:pt x="2351117" y="1419855"/>
                </a:lnTo>
                <a:lnTo>
                  <a:pt x="2336114" y="1422000"/>
                </a:lnTo>
                <a:lnTo>
                  <a:pt x="2327541" y="1424145"/>
                </a:lnTo>
                <a:lnTo>
                  <a:pt x="2203235" y="1430579"/>
                </a:lnTo>
                <a:lnTo>
                  <a:pt x="2194662" y="1432724"/>
                </a:lnTo>
                <a:lnTo>
                  <a:pt x="2183946" y="1430579"/>
                </a:lnTo>
                <a:lnTo>
                  <a:pt x="2168943" y="1430579"/>
                </a:lnTo>
                <a:lnTo>
                  <a:pt x="2151798" y="1428434"/>
                </a:lnTo>
                <a:lnTo>
                  <a:pt x="2143225" y="1428434"/>
                </a:lnTo>
                <a:lnTo>
                  <a:pt x="2123936" y="1426290"/>
                </a:lnTo>
                <a:lnTo>
                  <a:pt x="2117506" y="1426290"/>
                </a:lnTo>
                <a:lnTo>
                  <a:pt x="2113220" y="1424145"/>
                </a:lnTo>
                <a:lnTo>
                  <a:pt x="2111077" y="1424145"/>
                </a:lnTo>
                <a:lnTo>
                  <a:pt x="2102504" y="1424145"/>
                </a:lnTo>
                <a:lnTo>
                  <a:pt x="2096074" y="1424145"/>
                </a:lnTo>
                <a:lnTo>
                  <a:pt x="2093931" y="1424145"/>
                </a:lnTo>
                <a:lnTo>
                  <a:pt x="2091788" y="1424145"/>
                </a:lnTo>
                <a:lnTo>
                  <a:pt x="2089644" y="1424145"/>
                </a:lnTo>
                <a:lnTo>
                  <a:pt x="2087501" y="1424145"/>
                </a:lnTo>
                <a:lnTo>
                  <a:pt x="2085358" y="1424145"/>
                </a:lnTo>
                <a:lnTo>
                  <a:pt x="2074642" y="1424145"/>
                </a:lnTo>
                <a:lnTo>
                  <a:pt x="2044637" y="1424145"/>
                </a:lnTo>
                <a:lnTo>
                  <a:pt x="2012489" y="1426290"/>
                </a:lnTo>
                <a:lnTo>
                  <a:pt x="1982484" y="1430579"/>
                </a:lnTo>
                <a:lnTo>
                  <a:pt x="1948192" y="1434869"/>
                </a:lnTo>
                <a:lnTo>
                  <a:pt x="1918187" y="1445593"/>
                </a:lnTo>
                <a:lnTo>
                  <a:pt x="1888182" y="1452027"/>
                </a:lnTo>
                <a:lnTo>
                  <a:pt x="1856034" y="1462751"/>
                </a:lnTo>
                <a:lnTo>
                  <a:pt x="1826029" y="1475620"/>
                </a:lnTo>
                <a:lnTo>
                  <a:pt x="1806740" y="1484199"/>
                </a:lnTo>
                <a:lnTo>
                  <a:pt x="1787451" y="1492778"/>
                </a:lnTo>
                <a:lnTo>
                  <a:pt x="1738157" y="1522805"/>
                </a:lnTo>
                <a:lnTo>
                  <a:pt x="1695293" y="1552833"/>
                </a:lnTo>
                <a:lnTo>
                  <a:pt x="1650285" y="1587149"/>
                </a:lnTo>
                <a:lnTo>
                  <a:pt x="1611707" y="1623611"/>
                </a:lnTo>
                <a:lnTo>
                  <a:pt x="1607421" y="1625756"/>
                </a:lnTo>
                <a:lnTo>
                  <a:pt x="1583846" y="1651493"/>
                </a:lnTo>
                <a:lnTo>
                  <a:pt x="1560270" y="1683665"/>
                </a:lnTo>
                <a:lnTo>
                  <a:pt x="1538838" y="1711547"/>
                </a:lnTo>
                <a:lnTo>
                  <a:pt x="1517406" y="1743719"/>
                </a:lnTo>
                <a:lnTo>
                  <a:pt x="1495974" y="1782326"/>
                </a:lnTo>
                <a:lnTo>
                  <a:pt x="1474542" y="1825222"/>
                </a:lnTo>
                <a:lnTo>
                  <a:pt x="1459539" y="1868117"/>
                </a:lnTo>
                <a:lnTo>
                  <a:pt x="1444537" y="1911013"/>
                </a:lnTo>
                <a:lnTo>
                  <a:pt x="1435964" y="1956054"/>
                </a:lnTo>
                <a:lnTo>
                  <a:pt x="1427391" y="2001095"/>
                </a:lnTo>
                <a:lnTo>
                  <a:pt x="1425248" y="2043991"/>
                </a:lnTo>
                <a:lnTo>
                  <a:pt x="1420961" y="2089031"/>
                </a:lnTo>
                <a:lnTo>
                  <a:pt x="1425248" y="2104045"/>
                </a:lnTo>
                <a:lnTo>
                  <a:pt x="1427391" y="2116914"/>
                </a:lnTo>
                <a:lnTo>
                  <a:pt x="1427391" y="2119059"/>
                </a:lnTo>
                <a:lnTo>
                  <a:pt x="1427391" y="2125493"/>
                </a:lnTo>
                <a:lnTo>
                  <a:pt x="1427391" y="2129783"/>
                </a:lnTo>
                <a:lnTo>
                  <a:pt x="1427391" y="2134072"/>
                </a:lnTo>
                <a:lnTo>
                  <a:pt x="1429534" y="2140506"/>
                </a:lnTo>
                <a:lnTo>
                  <a:pt x="1429534" y="2149086"/>
                </a:lnTo>
                <a:lnTo>
                  <a:pt x="1429534" y="2151230"/>
                </a:lnTo>
                <a:lnTo>
                  <a:pt x="1429534" y="2153375"/>
                </a:lnTo>
                <a:lnTo>
                  <a:pt x="1431677" y="2170534"/>
                </a:lnTo>
                <a:lnTo>
                  <a:pt x="1431677" y="2194126"/>
                </a:lnTo>
                <a:lnTo>
                  <a:pt x="1431677" y="2202706"/>
                </a:lnTo>
                <a:lnTo>
                  <a:pt x="1431677" y="2204850"/>
                </a:lnTo>
                <a:lnTo>
                  <a:pt x="1425248" y="2327104"/>
                </a:lnTo>
                <a:lnTo>
                  <a:pt x="1420961" y="2337828"/>
                </a:lnTo>
                <a:lnTo>
                  <a:pt x="1418818" y="2348552"/>
                </a:lnTo>
                <a:lnTo>
                  <a:pt x="1418818" y="2350696"/>
                </a:lnTo>
                <a:lnTo>
                  <a:pt x="1416675" y="2363565"/>
                </a:lnTo>
                <a:lnTo>
                  <a:pt x="1414532" y="2367855"/>
                </a:lnTo>
                <a:lnTo>
                  <a:pt x="1414532" y="2370000"/>
                </a:lnTo>
                <a:lnTo>
                  <a:pt x="1412388" y="2378579"/>
                </a:lnTo>
                <a:lnTo>
                  <a:pt x="1408102" y="2395737"/>
                </a:lnTo>
                <a:lnTo>
                  <a:pt x="1401672" y="2417185"/>
                </a:lnTo>
                <a:lnTo>
                  <a:pt x="1393099" y="2440778"/>
                </a:lnTo>
                <a:lnTo>
                  <a:pt x="1388813" y="2460081"/>
                </a:lnTo>
                <a:lnTo>
                  <a:pt x="1386670" y="2460081"/>
                </a:lnTo>
                <a:lnTo>
                  <a:pt x="1386670" y="2462226"/>
                </a:lnTo>
                <a:lnTo>
                  <a:pt x="1380240" y="2479384"/>
                </a:lnTo>
                <a:lnTo>
                  <a:pt x="1369524" y="2498687"/>
                </a:lnTo>
                <a:lnTo>
                  <a:pt x="1367381" y="2502977"/>
                </a:lnTo>
                <a:lnTo>
                  <a:pt x="1358808" y="2522280"/>
                </a:lnTo>
                <a:lnTo>
                  <a:pt x="1352378" y="2541583"/>
                </a:lnTo>
                <a:lnTo>
                  <a:pt x="1339519" y="2560886"/>
                </a:lnTo>
                <a:lnTo>
                  <a:pt x="1330946" y="2578045"/>
                </a:lnTo>
                <a:lnTo>
                  <a:pt x="1328803" y="2580190"/>
                </a:lnTo>
                <a:lnTo>
                  <a:pt x="1320230" y="2595203"/>
                </a:lnTo>
                <a:lnTo>
                  <a:pt x="1307371" y="2614506"/>
                </a:lnTo>
                <a:lnTo>
                  <a:pt x="1285939" y="2642389"/>
                </a:lnTo>
                <a:lnTo>
                  <a:pt x="1268793" y="2668126"/>
                </a:lnTo>
                <a:lnTo>
                  <a:pt x="1247361" y="2693864"/>
                </a:lnTo>
                <a:lnTo>
                  <a:pt x="1225929" y="2713167"/>
                </a:lnTo>
                <a:lnTo>
                  <a:pt x="1195924" y="2741049"/>
                </a:lnTo>
                <a:lnTo>
                  <a:pt x="1168062" y="2766787"/>
                </a:lnTo>
                <a:lnTo>
                  <a:pt x="1135914" y="2790380"/>
                </a:lnTo>
                <a:lnTo>
                  <a:pt x="1103765" y="2811828"/>
                </a:lnTo>
                <a:lnTo>
                  <a:pt x="1060901" y="2837565"/>
                </a:lnTo>
                <a:lnTo>
                  <a:pt x="1015894" y="2861158"/>
                </a:lnTo>
                <a:lnTo>
                  <a:pt x="968743" y="2880461"/>
                </a:lnTo>
                <a:lnTo>
                  <a:pt x="921592" y="2893330"/>
                </a:lnTo>
                <a:lnTo>
                  <a:pt x="874441" y="2908343"/>
                </a:lnTo>
                <a:lnTo>
                  <a:pt x="825147" y="2914778"/>
                </a:lnTo>
                <a:lnTo>
                  <a:pt x="775853" y="2921212"/>
                </a:lnTo>
                <a:lnTo>
                  <a:pt x="724416" y="2921212"/>
                </a:lnTo>
                <a:lnTo>
                  <a:pt x="687982" y="2921212"/>
                </a:lnTo>
                <a:lnTo>
                  <a:pt x="651547" y="2919067"/>
                </a:lnTo>
                <a:lnTo>
                  <a:pt x="619399" y="2914778"/>
                </a:lnTo>
                <a:lnTo>
                  <a:pt x="585107" y="2908343"/>
                </a:lnTo>
                <a:lnTo>
                  <a:pt x="548673" y="2899764"/>
                </a:lnTo>
                <a:lnTo>
                  <a:pt x="516524" y="2891185"/>
                </a:lnTo>
                <a:lnTo>
                  <a:pt x="484376" y="2880461"/>
                </a:lnTo>
                <a:lnTo>
                  <a:pt x="452228" y="2867592"/>
                </a:lnTo>
                <a:lnTo>
                  <a:pt x="432939" y="2859013"/>
                </a:lnTo>
                <a:lnTo>
                  <a:pt x="411507" y="2848289"/>
                </a:lnTo>
                <a:lnTo>
                  <a:pt x="383645" y="2835420"/>
                </a:lnTo>
                <a:lnTo>
                  <a:pt x="360070" y="2820407"/>
                </a:lnTo>
                <a:lnTo>
                  <a:pt x="334351" y="2807538"/>
                </a:lnTo>
                <a:lnTo>
                  <a:pt x="310776" y="2790380"/>
                </a:lnTo>
                <a:lnTo>
                  <a:pt x="287200" y="2773221"/>
                </a:lnTo>
                <a:lnTo>
                  <a:pt x="265768" y="2753918"/>
                </a:lnTo>
                <a:lnTo>
                  <a:pt x="244336" y="2734615"/>
                </a:lnTo>
                <a:lnTo>
                  <a:pt x="220761" y="2713167"/>
                </a:lnTo>
                <a:lnTo>
                  <a:pt x="197185" y="2687429"/>
                </a:lnTo>
                <a:lnTo>
                  <a:pt x="173610" y="2661692"/>
                </a:lnTo>
                <a:lnTo>
                  <a:pt x="152178" y="2633809"/>
                </a:lnTo>
                <a:lnTo>
                  <a:pt x="132889" y="2605927"/>
                </a:lnTo>
                <a:lnTo>
                  <a:pt x="113600" y="2575900"/>
                </a:lnTo>
                <a:lnTo>
                  <a:pt x="96454" y="2545873"/>
                </a:lnTo>
                <a:lnTo>
                  <a:pt x="81452" y="2515846"/>
                </a:lnTo>
                <a:lnTo>
                  <a:pt x="66449" y="2483674"/>
                </a:lnTo>
                <a:lnTo>
                  <a:pt x="55733" y="2449357"/>
                </a:lnTo>
                <a:lnTo>
                  <a:pt x="42874" y="2417185"/>
                </a:lnTo>
                <a:lnTo>
                  <a:pt x="34301" y="2385013"/>
                </a:lnTo>
                <a:lnTo>
                  <a:pt x="27872" y="2350696"/>
                </a:lnTo>
                <a:lnTo>
                  <a:pt x="19299" y="2316380"/>
                </a:lnTo>
                <a:lnTo>
                  <a:pt x="17156" y="2282063"/>
                </a:lnTo>
                <a:lnTo>
                  <a:pt x="12869" y="2247746"/>
                </a:lnTo>
                <a:lnTo>
                  <a:pt x="12869" y="2213430"/>
                </a:lnTo>
                <a:lnTo>
                  <a:pt x="12869" y="2174823"/>
                </a:lnTo>
                <a:lnTo>
                  <a:pt x="17156" y="2140506"/>
                </a:lnTo>
                <a:lnTo>
                  <a:pt x="19299" y="2104045"/>
                </a:lnTo>
                <a:lnTo>
                  <a:pt x="27872" y="2071873"/>
                </a:lnTo>
                <a:lnTo>
                  <a:pt x="34301" y="2039701"/>
                </a:lnTo>
                <a:lnTo>
                  <a:pt x="42874" y="2003240"/>
                </a:lnTo>
                <a:lnTo>
                  <a:pt x="55733" y="1966778"/>
                </a:lnTo>
                <a:lnTo>
                  <a:pt x="66449" y="1936751"/>
                </a:lnTo>
                <a:lnTo>
                  <a:pt x="81452" y="1904579"/>
                </a:lnTo>
                <a:lnTo>
                  <a:pt x="96454" y="1874552"/>
                </a:lnTo>
                <a:lnTo>
                  <a:pt x="113600" y="1846670"/>
                </a:lnTo>
                <a:lnTo>
                  <a:pt x="132889" y="1816642"/>
                </a:lnTo>
                <a:lnTo>
                  <a:pt x="152178" y="1788760"/>
                </a:lnTo>
                <a:lnTo>
                  <a:pt x="173610" y="1763022"/>
                </a:lnTo>
                <a:lnTo>
                  <a:pt x="197185" y="1735140"/>
                </a:lnTo>
                <a:lnTo>
                  <a:pt x="220761" y="1709403"/>
                </a:lnTo>
                <a:lnTo>
                  <a:pt x="242193" y="1690099"/>
                </a:lnTo>
                <a:lnTo>
                  <a:pt x="267911" y="1666507"/>
                </a:lnTo>
                <a:lnTo>
                  <a:pt x="293630" y="1647204"/>
                </a:lnTo>
                <a:lnTo>
                  <a:pt x="321492" y="1625756"/>
                </a:lnTo>
                <a:lnTo>
                  <a:pt x="323635" y="1625756"/>
                </a:lnTo>
                <a:lnTo>
                  <a:pt x="330065" y="1619321"/>
                </a:lnTo>
                <a:lnTo>
                  <a:pt x="338638" y="1615032"/>
                </a:lnTo>
                <a:lnTo>
                  <a:pt x="347210" y="1610742"/>
                </a:lnTo>
                <a:lnTo>
                  <a:pt x="357927" y="1604308"/>
                </a:lnTo>
                <a:lnTo>
                  <a:pt x="375072" y="1593584"/>
                </a:lnTo>
                <a:lnTo>
                  <a:pt x="392218" y="1585004"/>
                </a:lnTo>
                <a:lnTo>
                  <a:pt x="411507" y="1576425"/>
                </a:lnTo>
                <a:lnTo>
                  <a:pt x="432939" y="1565701"/>
                </a:lnTo>
                <a:lnTo>
                  <a:pt x="443655" y="1559267"/>
                </a:lnTo>
                <a:lnTo>
                  <a:pt x="452228" y="1557122"/>
                </a:lnTo>
                <a:lnTo>
                  <a:pt x="462944" y="1550688"/>
                </a:lnTo>
                <a:lnTo>
                  <a:pt x="475803" y="1548543"/>
                </a:lnTo>
                <a:lnTo>
                  <a:pt x="480090" y="1544253"/>
                </a:lnTo>
                <a:lnTo>
                  <a:pt x="488663" y="1542109"/>
                </a:lnTo>
                <a:lnTo>
                  <a:pt x="497235" y="1537819"/>
                </a:lnTo>
                <a:lnTo>
                  <a:pt x="499379" y="1537819"/>
                </a:lnTo>
                <a:lnTo>
                  <a:pt x="525097" y="1531385"/>
                </a:lnTo>
                <a:lnTo>
                  <a:pt x="555102" y="1524950"/>
                </a:lnTo>
                <a:lnTo>
                  <a:pt x="565818" y="1518516"/>
                </a:lnTo>
                <a:lnTo>
                  <a:pt x="572248" y="1516371"/>
                </a:lnTo>
                <a:lnTo>
                  <a:pt x="582964" y="1514226"/>
                </a:lnTo>
                <a:lnTo>
                  <a:pt x="593680" y="1512081"/>
                </a:lnTo>
                <a:lnTo>
                  <a:pt x="604396" y="1512081"/>
                </a:lnTo>
                <a:lnTo>
                  <a:pt x="730846" y="1503502"/>
                </a:lnTo>
                <a:lnTo>
                  <a:pt x="739419" y="1503502"/>
                </a:lnTo>
                <a:lnTo>
                  <a:pt x="750135" y="1503502"/>
                </a:lnTo>
                <a:lnTo>
                  <a:pt x="769424" y="1503502"/>
                </a:lnTo>
                <a:lnTo>
                  <a:pt x="784426" y="1505647"/>
                </a:lnTo>
                <a:lnTo>
                  <a:pt x="797286" y="1507792"/>
                </a:lnTo>
                <a:lnTo>
                  <a:pt x="814431" y="1509937"/>
                </a:lnTo>
                <a:lnTo>
                  <a:pt x="818718" y="1509937"/>
                </a:lnTo>
                <a:lnTo>
                  <a:pt x="823004" y="1509937"/>
                </a:lnTo>
                <a:lnTo>
                  <a:pt x="833720" y="1509937"/>
                </a:lnTo>
                <a:lnTo>
                  <a:pt x="842293" y="1512081"/>
                </a:lnTo>
                <a:lnTo>
                  <a:pt x="848723" y="1512081"/>
                </a:lnTo>
                <a:lnTo>
                  <a:pt x="850866" y="1512081"/>
                </a:lnTo>
                <a:lnTo>
                  <a:pt x="853009" y="1512081"/>
                </a:lnTo>
                <a:lnTo>
                  <a:pt x="859439" y="1512081"/>
                </a:lnTo>
                <a:lnTo>
                  <a:pt x="891587" y="1509937"/>
                </a:lnTo>
                <a:lnTo>
                  <a:pt x="921592" y="1507792"/>
                </a:lnTo>
                <a:lnTo>
                  <a:pt x="955884" y="1503502"/>
                </a:lnTo>
                <a:lnTo>
                  <a:pt x="985889" y="1499213"/>
                </a:lnTo>
                <a:lnTo>
                  <a:pt x="1015894" y="1490633"/>
                </a:lnTo>
                <a:lnTo>
                  <a:pt x="1048042" y="1482054"/>
                </a:lnTo>
                <a:lnTo>
                  <a:pt x="1078047" y="1471330"/>
                </a:lnTo>
                <a:lnTo>
                  <a:pt x="1110195" y="1458462"/>
                </a:lnTo>
                <a:lnTo>
                  <a:pt x="1127341" y="1449882"/>
                </a:lnTo>
                <a:lnTo>
                  <a:pt x="1146630" y="1439158"/>
                </a:lnTo>
                <a:lnTo>
                  <a:pt x="1195924" y="1413421"/>
                </a:lnTo>
                <a:lnTo>
                  <a:pt x="1240931" y="1381249"/>
                </a:lnTo>
                <a:lnTo>
                  <a:pt x="1283795" y="1349077"/>
                </a:lnTo>
                <a:lnTo>
                  <a:pt x="1324517" y="1310471"/>
                </a:lnTo>
                <a:lnTo>
                  <a:pt x="1326660" y="1310471"/>
                </a:lnTo>
                <a:lnTo>
                  <a:pt x="1352378" y="1280443"/>
                </a:lnTo>
                <a:lnTo>
                  <a:pt x="1375954" y="1250416"/>
                </a:lnTo>
                <a:lnTo>
                  <a:pt x="1395243" y="1222534"/>
                </a:lnTo>
                <a:lnTo>
                  <a:pt x="1416675" y="1190362"/>
                </a:lnTo>
                <a:lnTo>
                  <a:pt x="1438107" y="1151756"/>
                </a:lnTo>
                <a:lnTo>
                  <a:pt x="1459539" y="1111005"/>
                </a:lnTo>
                <a:lnTo>
                  <a:pt x="1474542" y="1070253"/>
                </a:lnTo>
                <a:lnTo>
                  <a:pt x="1489544" y="1025213"/>
                </a:lnTo>
                <a:lnTo>
                  <a:pt x="1498117" y="980172"/>
                </a:lnTo>
                <a:lnTo>
                  <a:pt x="1508833" y="937276"/>
                </a:lnTo>
                <a:lnTo>
                  <a:pt x="1510976" y="892235"/>
                </a:lnTo>
                <a:lnTo>
                  <a:pt x="1513119" y="847195"/>
                </a:lnTo>
                <a:lnTo>
                  <a:pt x="1510976" y="832181"/>
                </a:lnTo>
                <a:lnTo>
                  <a:pt x="1508833" y="815023"/>
                </a:lnTo>
                <a:lnTo>
                  <a:pt x="1508833" y="812878"/>
                </a:lnTo>
                <a:lnTo>
                  <a:pt x="1508833" y="806444"/>
                </a:lnTo>
                <a:lnTo>
                  <a:pt x="1508833" y="804299"/>
                </a:lnTo>
                <a:lnTo>
                  <a:pt x="1506690" y="789285"/>
                </a:lnTo>
                <a:lnTo>
                  <a:pt x="1506690" y="787140"/>
                </a:lnTo>
                <a:lnTo>
                  <a:pt x="1504547" y="767837"/>
                </a:lnTo>
                <a:lnTo>
                  <a:pt x="1504547" y="757113"/>
                </a:lnTo>
                <a:lnTo>
                  <a:pt x="1504547" y="742100"/>
                </a:lnTo>
                <a:lnTo>
                  <a:pt x="1504547" y="731376"/>
                </a:lnTo>
                <a:lnTo>
                  <a:pt x="1504547" y="729231"/>
                </a:lnTo>
                <a:lnTo>
                  <a:pt x="1510976" y="611267"/>
                </a:lnTo>
                <a:lnTo>
                  <a:pt x="1510976" y="609122"/>
                </a:lnTo>
                <a:lnTo>
                  <a:pt x="1510976" y="600543"/>
                </a:lnTo>
                <a:lnTo>
                  <a:pt x="1517406" y="576950"/>
                </a:lnTo>
                <a:lnTo>
                  <a:pt x="1521692" y="561937"/>
                </a:lnTo>
                <a:lnTo>
                  <a:pt x="1519549" y="561937"/>
                </a:lnTo>
                <a:lnTo>
                  <a:pt x="1525979" y="544778"/>
                </a:lnTo>
                <a:lnTo>
                  <a:pt x="1534552" y="516896"/>
                </a:lnTo>
                <a:lnTo>
                  <a:pt x="1540981" y="491159"/>
                </a:lnTo>
                <a:lnTo>
                  <a:pt x="1547411" y="474000"/>
                </a:lnTo>
                <a:lnTo>
                  <a:pt x="1553841" y="452552"/>
                </a:lnTo>
                <a:lnTo>
                  <a:pt x="1564557" y="437539"/>
                </a:lnTo>
                <a:lnTo>
                  <a:pt x="1564557" y="433249"/>
                </a:lnTo>
                <a:lnTo>
                  <a:pt x="1573129" y="416091"/>
                </a:lnTo>
                <a:lnTo>
                  <a:pt x="1583846" y="394643"/>
                </a:lnTo>
                <a:lnTo>
                  <a:pt x="1596705" y="371050"/>
                </a:lnTo>
                <a:lnTo>
                  <a:pt x="1603134" y="358181"/>
                </a:lnTo>
                <a:lnTo>
                  <a:pt x="1605278" y="358181"/>
                </a:lnTo>
                <a:lnTo>
                  <a:pt x="1605278" y="353892"/>
                </a:lnTo>
                <a:lnTo>
                  <a:pt x="1607421" y="349602"/>
                </a:lnTo>
                <a:lnTo>
                  <a:pt x="1615994" y="338878"/>
                </a:lnTo>
                <a:lnTo>
                  <a:pt x="1626710" y="321720"/>
                </a:lnTo>
                <a:lnTo>
                  <a:pt x="1626710" y="319575"/>
                </a:lnTo>
                <a:lnTo>
                  <a:pt x="1648142" y="291693"/>
                </a:lnTo>
                <a:lnTo>
                  <a:pt x="1667431" y="265955"/>
                </a:lnTo>
                <a:lnTo>
                  <a:pt x="1688863" y="242362"/>
                </a:lnTo>
                <a:lnTo>
                  <a:pt x="1708152" y="220914"/>
                </a:lnTo>
                <a:lnTo>
                  <a:pt x="1736014" y="195177"/>
                </a:lnTo>
                <a:lnTo>
                  <a:pt x="1768162" y="169439"/>
                </a:lnTo>
                <a:lnTo>
                  <a:pt x="1800310" y="143702"/>
                </a:lnTo>
                <a:lnTo>
                  <a:pt x="1830315" y="122254"/>
                </a:lnTo>
                <a:lnTo>
                  <a:pt x="1875323" y="96516"/>
                </a:lnTo>
                <a:lnTo>
                  <a:pt x="1918187" y="75068"/>
                </a:lnTo>
                <a:lnTo>
                  <a:pt x="1965338" y="55765"/>
                </a:lnTo>
                <a:lnTo>
                  <a:pt x="2012489" y="40751"/>
                </a:lnTo>
                <a:lnTo>
                  <a:pt x="2061783" y="27883"/>
                </a:lnTo>
                <a:lnTo>
                  <a:pt x="2111077" y="19303"/>
                </a:lnTo>
                <a:lnTo>
                  <a:pt x="2160370" y="15014"/>
                </a:lnTo>
                <a:close/>
                <a:moveTo>
                  <a:pt x="709926" y="0"/>
                </a:moveTo>
                <a:lnTo>
                  <a:pt x="712071" y="0"/>
                </a:lnTo>
                <a:lnTo>
                  <a:pt x="759257" y="4302"/>
                </a:lnTo>
                <a:lnTo>
                  <a:pt x="806442" y="8605"/>
                </a:lnTo>
                <a:lnTo>
                  <a:pt x="851483" y="15059"/>
                </a:lnTo>
                <a:lnTo>
                  <a:pt x="896523" y="25815"/>
                </a:lnTo>
                <a:lnTo>
                  <a:pt x="922261" y="34420"/>
                </a:lnTo>
                <a:lnTo>
                  <a:pt x="954433" y="43025"/>
                </a:lnTo>
                <a:lnTo>
                  <a:pt x="990894" y="58084"/>
                </a:lnTo>
                <a:lnTo>
                  <a:pt x="1025211" y="73143"/>
                </a:lnTo>
                <a:lnTo>
                  <a:pt x="1059528" y="92504"/>
                </a:lnTo>
                <a:lnTo>
                  <a:pt x="1091700" y="114017"/>
                </a:lnTo>
                <a:lnTo>
                  <a:pt x="1123872" y="133378"/>
                </a:lnTo>
                <a:lnTo>
                  <a:pt x="1156043" y="157042"/>
                </a:lnTo>
                <a:lnTo>
                  <a:pt x="1183926" y="182857"/>
                </a:lnTo>
                <a:lnTo>
                  <a:pt x="1213953" y="210823"/>
                </a:lnTo>
                <a:lnTo>
                  <a:pt x="1213953" y="208672"/>
                </a:lnTo>
                <a:lnTo>
                  <a:pt x="1239690" y="236638"/>
                </a:lnTo>
                <a:lnTo>
                  <a:pt x="1265428" y="271058"/>
                </a:lnTo>
                <a:lnTo>
                  <a:pt x="1291165" y="301176"/>
                </a:lnTo>
                <a:lnTo>
                  <a:pt x="1312613" y="333445"/>
                </a:lnTo>
                <a:lnTo>
                  <a:pt x="1338351" y="376470"/>
                </a:lnTo>
                <a:lnTo>
                  <a:pt x="1359799" y="421646"/>
                </a:lnTo>
                <a:lnTo>
                  <a:pt x="1379102" y="466823"/>
                </a:lnTo>
                <a:lnTo>
                  <a:pt x="1394115" y="516302"/>
                </a:lnTo>
                <a:lnTo>
                  <a:pt x="1406984" y="563629"/>
                </a:lnTo>
                <a:lnTo>
                  <a:pt x="1415563" y="613108"/>
                </a:lnTo>
                <a:lnTo>
                  <a:pt x="1419853" y="662587"/>
                </a:lnTo>
                <a:lnTo>
                  <a:pt x="1421998" y="714217"/>
                </a:lnTo>
                <a:lnTo>
                  <a:pt x="1421998" y="750789"/>
                </a:lnTo>
                <a:lnTo>
                  <a:pt x="1417708" y="785209"/>
                </a:lnTo>
                <a:lnTo>
                  <a:pt x="1415563" y="819629"/>
                </a:lnTo>
                <a:lnTo>
                  <a:pt x="1409129" y="856200"/>
                </a:lnTo>
                <a:lnTo>
                  <a:pt x="1402695" y="890620"/>
                </a:lnTo>
                <a:lnTo>
                  <a:pt x="1391971" y="922889"/>
                </a:lnTo>
                <a:lnTo>
                  <a:pt x="1381247" y="955158"/>
                </a:lnTo>
                <a:lnTo>
                  <a:pt x="1368378" y="989578"/>
                </a:lnTo>
                <a:lnTo>
                  <a:pt x="1361944" y="1004637"/>
                </a:lnTo>
                <a:lnTo>
                  <a:pt x="1351220" y="1028301"/>
                </a:lnTo>
                <a:lnTo>
                  <a:pt x="1336206" y="1054116"/>
                </a:lnTo>
                <a:lnTo>
                  <a:pt x="1323337" y="1079931"/>
                </a:lnTo>
                <a:lnTo>
                  <a:pt x="1306179" y="1105746"/>
                </a:lnTo>
                <a:lnTo>
                  <a:pt x="1289021" y="1129410"/>
                </a:lnTo>
                <a:lnTo>
                  <a:pt x="1274007" y="1153073"/>
                </a:lnTo>
                <a:lnTo>
                  <a:pt x="1254704" y="1176737"/>
                </a:lnTo>
                <a:lnTo>
                  <a:pt x="1235401" y="1196099"/>
                </a:lnTo>
                <a:lnTo>
                  <a:pt x="1213953" y="1217611"/>
                </a:lnTo>
                <a:lnTo>
                  <a:pt x="1213953" y="1219762"/>
                </a:lnTo>
                <a:lnTo>
                  <a:pt x="1183926" y="1245577"/>
                </a:lnTo>
                <a:lnTo>
                  <a:pt x="1156043" y="1271392"/>
                </a:lnTo>
                <a:lnTo>
                  <a:pt x="1123872" y="1295056"/>
                </a:lnTo>
                <a:lnTo>
                  <a:pt x="1091700" y="1318720"/>
                </a:lnTo>
                <a:lnTo>
                  <a:pt x="1048804" y="1342384"/>
                </a:lnTo>
                <a:lnTo>
                  <a:pt x="1003763" y="1366048"/>
                </a:lnTo>
                <a:lnTo>
                  <a:pt x="958722" y="1383258"/>
                </a:lnTo>
                <a:lnTo>
                  <a:pt x="911537" y="1400468"/>
                </a:lnTo>
                <a:lnTo>
                  <a:pt x="862207" y="1411224"/>
                </a:lnTo>
                <a:lnTo>
                  <a:pt x="812877" y="1421980"/>
                </a:lnTo>
                <a:lnTo>
                  <a:pt x="761401" y="1426283"/>
                </a:lnTo>
                <a:lnTo>
                  <a:pt x="709926" y="1428434"/>
                </a:lnTo>
                <a:lnTo>
                  <a:pt x="709926" y="1426283"/>
                </a:lnTo>
                <a:lnTo>
                  <a:pt x="675610" y="1426283"/>
                </a:lnTo>
                <a:lnTo>
                  <a:pt x="641293" y="1424132"/>
                </a:lnTo>
                <a:lnTo>
                  <a:pt x="604832" y="1419829"/>
                </a:lnTo>
                <a:lnTo>
                  <a:pt x="570515" y="1413375"/>
                </a:lnTo>
                <a:lnTo>
                  <a:pt x="538343" y="1404770"/>
                </a:lnTo>
                <a:lnTo>
                  <a:pt x="506171" y="1396165"/>
                </a:lnTo>
                <a:lnTo>
                  <a:pt x="469710" y="1385409"/>
                </a:lnTo>
                <a:lnTo>
                  <a:pt x="439682" y="1372502"/>
                </a:lnTo>
                <a:lnTo>
                  <a:pt x="418235" y="1366048"/>
                </a:lnTo>
                <a:lnTo>
                  <a:pt x="398931" y="1353140"/>
                </a:lnTo>
                <a:lnTo>
                  <a:pt x="373194" y="1342384"/>
                </a:lnTo>
                <a:lnTo>
                  <a:pt x="347456" y="1325174"/>
                </a:lnTo>
                <a:lnTo>
                  <a:pt x="321719" y="1312266"/>
                </a:lnTo>
                <a:lnTo>
                  <a:pt x="298126" y="1295056"/>
                </a:lnTo>
                <a:lnTo>
                  <a:pt x="274533" y="1275695"/>
                </a:lnTo>
                <a:lnTo>
                  <a:pt x="250941" y="1258485"/>
                </a:lnTo>
                <a:lnTo>
                  <a:pt x="229493" y="1239124"/>
                </a:lnTo>
                <a:lnTo>
                  <a:pt x="208045" y="1217611"/>
                </a:lnTo>
                <a:lnTo>
                  <a:pt x="182307" y="1191796"/>
                </a:lnTo>
                <a:lnTo>
                  <a:pt x="154425" y="1159527"/>
                </a:lnTo>
                <a:lnTo>
                  <a:pt x="135122" y="1129410"/>
                </a:lnTo>
                <a:lnTo>
                  <a:pt x="111529" y="1097141"/>
                </a:lnTo>
                <a:lnTo>
                  <a:pt x="85792" y="1051964"/>
                </a:lnTo>
                <a:lnTo>
                  <a:pt x="62199" y="1006788"/>
                </a:lnTo>
                <a:lnTo>
                  <a:pt x="42896" y="959460"/>
                </a:lnTo>
                <a:lnTo>
                  <a:pt x="30027" y="914284"/>
                </a:lnTo>
                <a:lnTo>
                  <a:pt x="15014" y="864805"/>
                </a:lnTo>
                <a:lnTo>
                  <a:pt x="8579" y="815326"/>
                </a:lnTo>
                <a:lnTo>
                  <a:pt x="0" y="765847"/>
                </a:lnTo>
                <a:lnTo>
                  <a:pt x="0" y="714217"/>
                </a:lnTo>
                <a:lnTo>
                  <a:pt x="0" y="679797"/>
                </a:lnTo>
                <a:lnTo>
                  <a:pt x="4290" y="645377"/>
                </a:lnTo>
                <a:lnTo>
                  <a:pt x="8579" y="608806"/>
                </a:lnTo>
                <a:lnTo>
                  <a:pt x="15014" y="574386"/>
                </a:lnTo>
                <a:lnTo>
                  <a:pt x="21448" y="542117"/>
                </a:lnTo>
                <a:lnTo>
                  <a:pt x="32172" y="505545"/>
                </a:lnTo>
                <a:lnTo>
                  <a:pt x="40751" y="473276"/>
                </a:lnTo>
                <a:lnTo>
                  <a:pt x="55765" y="441008"/>
                </a:lnTo>
                <a:lnTo>
                  <a:pt x="62199" y="421646"/>
                </a:lnTo>
                <a:lnTo>
                  <a:pt x="72923" y="400134"/>
                </a:lnTo>
                <a:lnTo>
                  <a:pt x="87936" y="376470"/>
                </a:lnTo>
                <a:lnTo>
                  <a:pt x="100805" y="350655"/>
                </a:lnTo>
                <a:lnTo>
                  <a:pt x="115819" y="324840"/>
                </a:lnTo>
                <a:lnTo>
                  <a:pt x="130832" y="301176"/>
                </a:lnTo>
                <a:lnTo>
                  <a:pt x="150135" y="277512"/>
                </a:lnTo>
                <a:lnTo>
                  <a:pt x="169439" y="253848"/>
                </a:lnTo>
                <a:lnTo>
                  <a:pt x="188742" y="232336"/>
                </a:lnTo>
                <a:lnTo>
                  <a:pt x="208045" y="210823"/>
                </a:lnTo>
                <a:lnTo>
                  <a:pt x="208045" y="208672"/>
                </a:lnTo>
                <a:lnTo>
                  <a:pt x="235927" y="182857"/>
                </a:lnTo>
                <a:lnTo>
                  <a:pt x="268099" y="157042"/>
                </a:lnTo>
                <a:lnTo>
                  <a:pt x="300271" y="133378"/>
                </a:lnTo>
                <a:lnTo>
                  <a:pt x="330298" y="111865"/>
                </a:lnTo>
                <a:lnTo>
                  <a:pt x="375339" y="88202"/>
                </a:lnTo>
                <a:lnTo>
                  <a:pt x="418235" y="64538"/>
                </a:lnTo>
                <a:lnTo>
                  <a:pt x="465420" y="45177"/>
                </a:lnTo>
                <a:lnTo>
                  <a:pt x="512605" y="30118"/>
                </a:lnTo>
                <a:lnTo>
                  <a:pt x="561936" y="17210"/>
                </a:lnTo>
                <a:lnTo>
                  <a:pt x="611266" y="8605"/>
                </a:lnTo>
                <a:lnTo>
                  <a:pt x="660596" y="4302"/>
                </a:lnTo>
                <a:close/>
              </a:path>
            </a:pathLst>
          </a:custGeom>
          <a:solidFill>
            <a:schemeClr val="bg1">
              <a:lumMod val="85000"/>
              <a:alpha val="12000"/>
            </a:schemeClr>
          </a:solidFill>
          <a:ln>
            <a:noFill/>
          </a:ln>
          <a:effectLst/>
        </p:spPr>
        <p:txBody>
          <a:bodyPr vert="horz" wrap="square" lIns="91440" tIns="45720" rIns="91440" bIns="45720" numCol="1" anchor="t" anchorCtr="0" compatLnSpc="1">
            <a:prstTxWarp prst="textNoShape">
              <a:avLst/>
            </a:prstTxWarp>
          </a:bodyPr>
          <a:lstStyle>
            <a:lvl1pPr>
              <a:defRPr lang="en-US" sz="133"/>
            </a:lvl1pPr>
          </a:lstStyle>
          <a:p>
            <a:pPr lvl="0"/>
            <a:r>
              <a:rPr lang="en-US"/>
              <a:t>Click icon to add picture</a:t>
            </a:r>
          </a:p>
        </p:txBody>
      </p:sp>
      <p:sp>
        <p:nvSpPr>
          <p:cNvPr id="5" name="Text Placeholder 13">
            <a:extLst>
              <a:ext uri="{FF2B5EF4-FFF2-40B4-BE49-F238E27FC236}">
                <a16:creationId xmlns:a16="http://schemas.microsoft.com/office/drawing/2014/main" id="{003395A9-520E-4B5A-9238-1D2B135FA471}"/>
              </a:ext>
            </a:extLst>
          </p:cNvPr>
          <p:cNvSpPr>
            <a:spLocks noGrp="1"/>
          </p:cNvSpPr>
          <p:nvPr>
            <p:ph type="body" sz="quarter" idx="11"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14557399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56E5A-B3B0-4E86-91A5-59653AFFC5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BD84983-1612-4B65-AD30-756764895C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D0E9B2-85E0-42A4-8E95-156AFEA3F4FF}"/>
              </a:ext>
            </a:extLst>
          </p:cNvPr>
          <p:cNvSpPr>
            <a:spLocks noGrp="1"/>
          </p:cNvSpPr>
          <p:nvPr>
            <p:ph type="dt" sz="half" idx="10"/>
          </p:nvPr>
        </p:nvSpPr>
        <p:spPr/>
        <p:txBody>
          <a:bodyPr/>
          <a:lstStyle/>
          <a:p>
            <a:fld id="{397390F4-963A-44E1-94ED-14C76AE73B39}" type="datetimeFigureOut">
              <a:rPr lang="en-US" smtClean="0"/>
              <a:t>2/19/2020</a:t>
            </a:fld>
            <a:endParaRPr lang="en-US"/>
          </a:p>
        </p:txBody>
      </p:sp>
      <p:sp>
        <p:nvSpPr>
          <p:cNvPr id="5" name="Footer Placeholder 4">
            <a:extLst>
              <a:ext uri="{FF2B5EF4-FFF2-40B4-BE49-F238E27FC236}">
                <a16:creationId xmlns:a16="http://schemas.microsoft.com/office/drawing/2014/main" id="{2642FF61-C15D-4E5B-BA64-7A5AC5C3DD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C08962-B94E-4135-BE84-BDED263D4E67}"/>
              </a:ext>
            </a:extLst>
          </p:cNvPr>
          <p:cNvSpPr>
            <a:spLocks noGrp="1"/>
          </p:cNvSpPr>
          <p:nvPr>
            <p:ph type="sldNum" sz="quarter" idx="12"/>
          </p:nvPr>
        </p:nvSpPr>
        <p:spPr/>
        <p:txBody>
          <a:bodyPr/>
          <a:lstStyle/>
          <a:p>
            <a:fld id="{1BAB8E8B-09E1-49C1-8032-B74DB4DF7364}" type="slidenum">
              <a:rPr lang="en-US" smtClean="0"/>
              <a:t>‹#›</a:t>
            </a:fld>
            <a:endParaRPr lang="en-US"/>
          </a:p>
        </p:txBody>
      </p:sp>
    </p:spTree>
    <p:extLst>
      <p:ext uri="{BB962C8B-B14F-4D97-AF65-F5344CB8AC3E}">
        <p14:creationId xmlns:p14="http://schemas.microsoft.com/office/powerpoint/2010/main" val="24465117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itle 20"/>
          <p:cNvSpPr>
            <a:spLocks noGrp="1"/>
          </p:cNvSpPr>
          <p:nvPr>
            <p:ph type="title"/>
          </p:nvPr>
        </p:nvSpPr>
        <p:spPr>
          <a:xfrm>
            <a:off x="532451" y="108419"/>
            <a:ext cx="11189019" cy="513416"/>
          </a:xfrm>
          <a:prstGeom prst="rect">
            <a:avLst/>
          </a:prstGeom>
        </p:spPr>
        <p:txBody>
          <a:bodyPr anchor="t" anchorCtr="0"/>
          <a:lstStyle>
            <a:lvl1pPr algn="l">
              <a:defRPr sz="3200" b="0">
                <a:solidFill>
                  <a:schemeClr val="tx1"/>
                </a:solidFill>
                <a:latin typeface="Roboto Light" panose="02000000000000000000" pitchFamily="2" charset="0"/>
                <a:ea typeface="Roboto Light" panose="02000000000000000000" pitchFamily="2" charset="0"/>
                <a:cs typeface="Open Sans Condensed Light" panose="020B0306030504020204" pitchFamily="34" charset="0"/>
              </a:defRPr>
            </a:lvl1pPr>
          </a:lstStyle>
          <a:p>
            <a:r>
              <a:rPr lang="en-US" dirty="0"/>
              <a:t>Click to edit Master title style</a:t>
            </a:r>
          </a:p>
        </p:txBody>
      </p:sp>
      <p:sp>
        <p:nvSpPr>
          <p:cNvPr id="5" name="Content Placeholder 4"/>
          <p:cNvSpPr>
            <a:spLocks noGrp="1"/>
          </p:cNvSpPr>
          <p:nvPr>
            <p:ph sz="quarter" idx="11" hasCustomPrompt="1"/>
          </p:nvPr>
        </p:nvSpPr>
        <p:spPr>
          <a:xfrm>
            <a:off x="5454318" y="6174770"/>
            <a:ext cx="6266245" cy="226031"/>
          </a:xfrm>
          <a:prstGeom prst="rect">
            <a:avLst/>
          </a:prstGeom>
        </p:spPr>
        <p:txBody>
          <a:bodyPr anchor="b"/>
          <a:lstStyle>
            <a:lvl1pPr marL="0" indent="0" algn="r">
              <a:buNone/>
              <a:defRPr sz="800" i="1">
                <a:solidFill>
                  <a:schemeClr val="tx2"/>
                </a:solidFill>
                <a:latin typeface="Source Sans Pro Light" panose="020B0403030403020204" pitchFamily="34" charset="0"/>
              </a:defRPr>
            </a:lvl1pPr>
          </a:lstStyle>
          <a:p>
            <a:pPr lvl="0"/>
            <a:r>
              <a:rPr lang="en-US" dirty="0"/>
              <a:t>Click to edit sources</a:t>
            </a:r>
          </a:p>
        </p:txBody>
      </p:sp>
    </p:spTree>
    <p:extLst>
      <p:ext uri="{BB962C8B-B14F-4D97-AF65-F5344CB8AC3E}">
        <p14:creationId xmlns:p14="http://schemas.microsoft.com/office/powerpoint/2010/main" val="2112418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9" name="Content Placeholder 4"/>
          <p:cNvSpPr>
            <a:spLocks noGrp="1"/>
          </p:cNvSpPr>
          <p:nvPr>
            <p:ph sz="quarter" idx="10"/>
          </p:nvPr>
        </p:nvSpPr>
        <p:spPr>
          <a:xfrm>
            <a:off x="1119232" y="1255061"/>
            <a:ext cx="10602237" cy="3924369"/>
          </a:xfrm>
          <a:prstGeom prst="rect">
            <a:avLst/>
          </a:prstGeom>
        </p:spPr>
        <p:txBody>
          <a:bodyPr vert="horz" lIns="0" tIns="0" rIns="0" bIns="0"/>
          <a:lstStyle>
            <a:lvl1pPr marL="0" indent="0">
              <a:lnSpc>
                <a:spcPct val="100000"/>
              </a:lnSpc>
              <a:spcBef>
                <a:spcPts val="1200"/>
              </a:spcBef>
              <a:spcAft>
                <a:spcPts val="0"/>
              </a:spcAft>
              <a:buNone/>
              <a:defRPr sz="240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1pPr>
            <a:lvl2pPr marL="640064" indent="-182875">
              <a:lnSpc>
                <a:spcPct val="100000"/>
              </a:lnSpc>
              <a:spcBef>
                <a:spcPts val="600"/>
              </a:spcBef>
              <a:spcAft>
                <a:spcPts val="0"/>
              </a:spcAft>
              <a:buClr>
                <a:schemeClr val="accent1"/>
              </a:buClr>
              <a:buSzPct val="100000"/>
              <a:buFontTx/>
              <a:buBlip>
                <a:blip r:embed="rId2"/>
              </a:buBlip>
              <a:defRPr lang="en-US" sz="2100" kern="1200" dirty="0" smtClean="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2pPr>
            <a:lvl3pPr marL="1234409" indent="-137157">
              <a:lnSpc>
                <a:spcPct val="100000"/>
              </a:lnSpc>
              <a:spcBef>
                <a:spcPts val="600"/>
              </a:spcBef>
              <a:spcAft>
                <a:spcPts val="0"/>
              </a:spcAft>
              <a:buFontTx/>
              <a:buBlip>
                <a:blip r:embed="rId2"/>
              </a:buBlip>
              <a:defRPr sz="1800" baseline="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3pPr>
            <a:lvl4pPr marL="1600160" indent="-228594">
              <a:buFont typeface="Arial"/>
              <a:buChar char="•"/>
              <a:defRPr/>
            </a:lvl4pPr>
            <a:lvl5pPr marL="2057349" indent="-228594">
              <a:buFont typeface="Arial"/>
              <a:buChar char="•"/>
              <a:defRPr/>
            </a:lvl5pPr>
          </a:lstStyle>
          <a:p>
            <a:pPr lvl="0"/>
            <a:r>
              <a:rPr lang="en-US" dirty="0"/>
              <a:t>Click to edit Master text styles</a:t>
            </a:r>
          </a:p>
          <a:p>
            <a:pPr lvl="1"/>
            <a:r>
              <a:rPr lang="en-US" dirty="0"/>
              <a:t>Second level</a:t>
            </a:r>
          </a:p>
          <a:p>
            <a:pPr lvl="2"/>
            <a:r>
              <a:rPr lang="en-US" dirty="0"/>
              <a:t>Third level</a:t>
            </a:r>
          </a:p>
        </p:txBody>
      </p:sp>
      <p:sp>
        <p:nvSpPr>
          <p:cNvPr id="21" name="Title 20"/>
          <p:cNvSpPr>
            <a:spLocks noGrp="1"/>
          </p:cNvSpPr>
          <p:nvPr>
            <p:ph type="title"/>
          </p:nvPr>
        </p:nvSpPr>
        <p:spPr>
          <a:xfrm>
            <a:off x="532451" y="108419"/>
            <a:ext cx="11189019" cy="513416"/>
          </a:xfrm>
          <a:prstGeom prst="rect">
            <a:avLst/>
          </a:prstGeom>
        </p:spPr>
        <p:txBody>
          <a:bodyPr anchor="t" anchorCtr="0"/>
          <a:lstStyle>
            <a:lvl1pPr algn="l">
              <a:defRPr sz="3200" b="0">
                <a:solidFill>
                  <a:schemeClr val="tx1"/>
                </a:solidFill>
                <a:latin typeface="Roboto Light" panose="02000000000000000000" pitchFamily="2" charset="0"/>
                <a:ea typeface="Roboto Light" panose="02000000000000000000" pitchFamily="2" charset="0"/>
                <a:cs typeface="Open Sans Condensed Light" panose="020B0306030504020204" pitchFamily="34" charset="0"/>
              </a:defRPr>
            </a:lvl1pPr>
          </a:lstStyle>
          <a:p>
            <a:r>
              <a:rPr lang="en-US" dirty="0"/>
              <a:t>Click to edit Master title style</a:t>
            </a:r>
          </a:p>
        </p:txBody>
      </p:sp>
      <p:sp>
        <p:nvSpPr>
          <p:cNvPr id="5" name="Content Placeholder 4"/>
          <p:cNvSpPr>
            <a:spLocks noGrp="1"/>
          </p:cNvSpPr>
          <p:nvPr>
            <p:ph sz="quarter" idx="11" hasCustomPrompt="1"/>
          </p:nvPr>
        </p:nvSpPr>
        <p:spPr>
          <a:xfrm>
            <a:off x="5454318" y="6174770"/>
            <a:ext cx="6266245" cy="226031"/>
          </a:xfrm>
          <a:prstGeom prst="rect">
            <a:avLst/>
          </a:prstGeom>
        </p:spPr>
        <p:txBody>
          <a:bodyPr anchor="b"/>
          <a:lstStyle>
            <a:lvl1pPr marL="0" indent="0" algn="r">
              <a:buNone/>
              <a:defRPr sz="800" i="1">
                <a:solidFill>
                  <a:schemeClr val="tx2"/>
                </a:solidFill>
                <a:latin typeface="Source Sans Pro Light" panose="020B0403030403020204" pitchFamily="34" charset="0"/>
              </a:defRPr>
            </a:lvl1pPr>
          </a:lstStyle>
          <a:p>
            <a:pPr lvl="0"/>
            <a:r>
              <a:rPr lang="en-US" dirty="0"/>
              <a:t>Click to edit sources</a:t>
            </a:r>
          </a:p>
        </p:txBody>
      </p:sp>
    </p:spTree>
    <p:extLst>
      <p:ext uri="{BB962C8B-B14F-4D97-AF65-F5344CB8AC3E}">
        <p14:creationId xmlns:p14="http://schemas.microsoft.com/office/powerpoint/2010/main" val="20862797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9" name="Content Placeholder 4"/>
          <p:cNvSpPr>
            <a:spLocks noGrp="1"/>
          </p:cNvSpPr>
          <p:nvPr>
            <p:ph sz="quarter" idx="10"/>
          </p:nvPr>
        </p:nvSpPr>
        <p:spPr>
          <a:xfrm>
            <a:off x="1119232" y="1255061"/>
            <a:ext cx="10602237" cy="3924369"/>
          </a:xfrm>
          <a:prstGeom prst="rect">
            <a:avLst/>
          </a:prstGeom>
        </p:spPr>
        <p:txBody>
          <a:bodyPr vert="horz" lIns="0" tIns="0" rIns="0" bIns="0"/>
          <a:lstStyle>
            <a:lvl1pPr marL="342891" indent="-342891">
              <a:lnSpc>
                <a:spcPct val="100000"/>
              </a:lnSpc>
              <a:spcBef>
                <a:spcPts val="1200"/>
              </a:spcBef>
              <a:spcAft>
                <a:spcPts val="0"/>
              </a:spcAft>
              <a:buFontTx/>
              <a:buBlip>
                <a:blip r:embed="rId2"/>
              </a:buBlip>
              <a:defRPr sz="2000">
                <a:solidFill>
                  <a:srgbClr val="4E5255"/>
                </a:solidFill>
                <a:latin typeface="Arial Nova" panose="020B0504020202020204" pitchFamily="34" charset="0"/>
                <a:ea typeface="Source Sans Pro" panose="020B0503030403020204" pitchFamily="34" charset="0"/>
                <a:cs typeface="Open Sans Light" panose="020B0306030504020204" pitchFamily="34" charset="0"/>
              </a:defRPr>
            </a:lvl1pPr>
            <a:lvl2pPr marL="640064" indent="-182875">
              <a:lnSpc>
                <a:spcPct val="100000"/>
              </a:lnSpc>
              <a:spcBef>
                <a:spcPts val="600"/>
              </a:spcBef>
              <a:spcAft>
                <a:spcPts val="0"/>
              </a:spcAft>
              <a:buClr>
                <a:schemeClr val="accent1"/>
              </a:buClr>
              <a:buSzPct val="100000"/>
              <a:buFontTx/>
              <a:buBlip>
                <a:blip r:embed="rId2"/>
              </a:buBlip>
              <a:defRPr lang="en-US" sz="1800" kern="1200" dirty="0" smtClean="0">
                <a:solidFill>
                  <a:srgbClr val="4E5255"/>
                </a:solidFill>
                <a:latin typeface="Arial Nova" panose="020B0504020202020204" pitchFamily="34" charset="0"/>
                <a:ea typeface="Source Sans Pro" panose="020B0503030403020204" pitchFamily="34" charset="0"/>
                <a:cs typeface="Open Sans Light" panose="020B0306030504020204" pitchFamily="34" charset="0"/>
              </a:defRPr>
            </a:lvl2pPr>
            <a:lvl3pPr marL="1234409" indent="-137157">
              <a:lnSpc>
                <a:spcPct val="100000"/>
              </a:lnSpc>
              <a:spcBef>
                <a:spcPts val="600"/>
              </a:spcBef>
              <a:spcAft>
                <a:spcPts val="0"/>
              </a:spcAft>
              <a:buFontTx/>
              <a:buBlip>
                <a:blip r:embed="rId2"/>
              </a:buBlip>
              <a:defRPr sz="1600" baseline="0">
                <a:solidFill>
                  <a:srgbClr val="4E5255"/>
                </a:solidFill>
                <a:latin typeface="Arial Nova" panose="020B0504020202020204" pitchFamily="34" charset="0"/>
                <a:ea typeface="Source Sans Pro" panose="020B0503030403020204" pitchFamily="34" charset="0"/>
                <a:cs typeface="Open Sans Light" panose="020B0306030504020204" pitchFamily="34" charset="0"/>
              </a:defRPr>
            </a:lvl3pPr>
            <a:lvl4pPr marL="1600160" indent="-228594">
              <a:buFont typeface="Arial"/>
              <a:buChar char="•"/>
              <a:defRPr/>
            </a:lvl4pPr>
            <a:lvl5pPr marL="2057349" indent="-228594">
              <a:buFont typeface="Arial"/>
              <a:buChar char="•"/>
              <a:defRPr/>
            </a:lvl5pPr>
          </a:lstStyle>
          <a:p>
            <a:pPr lvl="0"/>
            <a:r>
              <a:rPr lang="en-US" dirty="0"/>
              <a:t>Click to edit Master text styles</a:t>
            </a:r>
          </a:p>
          <a:p>
            <a:pPr lvl="1"/>
            <a:r>
              <a:rPr lang="en-US" dirty="0"/>
              <a:t>Second level</a:t>
            </a:r>
          </a:p>
          <a:p>
            <a:pPr lvl="2"/>
            <a:r>
              <a:rPr lang="en-US" dirty="0"/>
              <a:t>Third level</a:t>
            </a:r>
          </a:p>
        </p:txBody>
      </p:sp>
      <p:sp>
        <p:nvSpPr>
          <p:cNvPr id="21" name="Title 20"/>
          <p:cNvSpPr>
            <a:spLocks noGrp="1"/>
          </p:cNvSpPr>
          <p:nvPr>
            <p:ph type="title"/>
          </p:nvPr>
        </p:nvSpPr>
        <p:spPr>
          <a:xfrm>
            <a:off x="532451" y="108419"/>
            <a:ext cx="11189019" cy="513416"/>
          </a:xfrm>
          <a:prstGeom prst="rect">
            <a:avLst/>
          </a:prstGeom>
        </p:spPr>
        <p:txBody>
          <a:bodyPr anchor="t" anchorCtr="0"/>
          <a:lstStyle>
            <a:lvl1pPr algn="l">
              <a:defRPr sz="3200" b="0">
                <a:solidFill>
                  <a:schemeClr val="tx1"/>
                </a:solidFill>
                <a:latin typeface="Roboto Light" panose="02000000000000000000" pitchFamily="2" charset="0"/>
                <a:ea typeface="Roboto Light" panose="02000000000000000000" pitchFamily="2" charset="0"/>
                <a:cs typeface="Open Sans Condensed Light" panose="020B0306030504020204" pitchFamily="34" charset="0"/>
              </a:defRPr>
            </a:lvl1pPr>
          </a:lstStyle>
          <a:p>
            <a:r>
              <a:rPr lang="en-US" dirty="0"/>
              <a:t>Click to edit Master title style</a:t>
            </a:r>
          </a:p>
        </p:txBody>
      </p:sp>
      <p:sp>
        <p:nvSpPr>
          <p:cNvPr id="7" name="Content Placeholder 4"/>
          <p:cNvSpPr>
            <a:spLocks noGrp="1"/>
          </p:cNvSpPr>
          <p:nvPr>
            <p:ph sz="quarter" idx="11" hasCustomPrompt="1"/>
          </p:nvPr>
        </p:nvSpPr>
        <p:spPr>
          <a:xfrm>
            <a:off x="5454318" y="6174770"/>
            <a:ext cx="6266245" cy="226031"/>
          </a:xfrm>
          <a:prstGeom prst="rect">
            <a:avLst/>
          </a:prstGeom>
        </p:spPr>
        <p:txBody>
          <a:bodyPr anchor="b"/>
          <a:lstStyle>
            <a:lvl1pPr marL="0" indent="0" algn="r">
              <a:buNone/>
              <a:defRPr sz="800" i="1">
                <a:solidFill>
                  <a:schemeClr val="tx2"/>
                </a:solidFill>
                <a:latin typeface="Source Sans Pro Light" panose="020B0403030403020204" pitchFamily="34" charset="0"/>
              </a:defRPr>
            </a:lvl1pPr>
          </a:lstStyle>
          <a:p>
            <a:pPr lvl="0"/>
            <a:r>
              <a:rPr lang="en-US" dirty="0"/>
              <a:t>Click to edit sources</a:t>
            </a:r>
          </a:p>
        </p:txBody>
      </p:sp>
    </p:spTree>
    <p:extLst>
      <p:ext uri="{BB962C8B-B14F-4D97-AF65-F5344CB8AC3E}">
        <p14:creationId xmlns:p14="http://schemas.microsoft.com/office/powerpoint/2010/main" val="22242952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119231" y="5139133"/>
            <a:ext cx="10602237" cy="975857"/>
          </a:xfrm>
          <a:prstGeom prst="rect">
            <a:avLst/>
          </a:prstGeom>
        </p:spPr>
        <p:txBody>
          <a:bodyPr lIns="0" tIns="0" rIns="0" bIns="0" anchor="b"/>
          <a:lstStyle>
            <a:lvl1pPr marL="182875" indent="-164588">
              <a:lnSpc>
                <a:spcPct val="100000"/>
              </a:lnSpc>
              <a:spcBef>
                <a:spcPts val="600"/>
              </a:spcBef>
              <a:buFontTx/>
              <a:buBlip>
                <a:blip r:embed="rId2"/>
              </a:buBlip>
              <a:defRPr sz="200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1pPr>
            <a:lvl2pPr marL="374895" indent="-182875">
              <a:lnSpc>
                <a:spcPct val="100000"/>
              </a:lnSpc>
              <a:spcBef>
                <a:spcPts val="300"/>
              </a:spcBef>
              <a:buSzPct val="83000"/>
              <a:buFontTx/>
              <a:buBlip>
                <a:blip r:embed="rId2"/>
              </a:buBlip>
              <a:defRPr sz="1800" baseline="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2pPr>
            <a:lvl3pPr marL="690545" indent="-117472">
              <a:buFontTx/>
              <a:buBlip>
                <a:blip r:embed="rId2"/>
              </a:buBlip>
              <a:defRPr sz="160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Title 20"/>
          <p:cNvSpPr>
            <a:spLocks noGrp="1"/>
          </p:cNvSpPr>
          <p:nvPr>
            <p:ph type="title"/>
          </p:nvPr>
        </p:nvSpPr>
        <p:spPr>
          <a:xfrm>
            <a:off x="532451" y="108419"/>
            <a:ext cx="11189019" cy="513416"/>
          </a:xfrm>
          <a:prstGeom prst="rect">
            <a:avLst/>
          </a:prstGeom>
        </p:spPr>
        <p:txBody>
          <a:bodyPr anchor="t" anchorCtr="0"/>
          <a:lstStyle>
            <a:lvl1pPr algn="l">
              <a:defRPr sz="3200" b="0">
                <a:solidFill>
                  <a:schemeClr val="tx1"/>
                </a:solidFill>
                <a:latin typeface="Roboto Light" panose="02000000000000000000" pitchFamily="2" charset="0"/>
                <a:ea typeface="Roboto Light" panose="02000000000000000000" pitchFamily="2" charset="0"/>
                <a:cs typeface="Open Sans Condensed Light" panose="020B0306030504020204" pitchFamily="34" charset="0"/>
              </a:defRPr>
            </a:lvl1pPr>
          </a:lstStyle>
          <a:p>
            <a:r>
              <a:rPr lang="en-US" dirty="0"/>
              <a:t>Click to edit Master title style</a:t>
            </a:r>
          </a:p>
        </p:txBody>
      </p:sp>
      <p:sp>
        <p:nvSpPr>
          <p:cNvPr id="6" name="Content Placeholder 4"/>
          <p:cNvSpPr>
            <a:spLocks noGrp="1"/>
          </p:cNvSpPr>
          <p:nvPr>
            <p:ph sz="quarter" idx="11" hasCustomPrompt="1"/>
          </p:nvPr>
        </p:nvSpPr>
        <p:spPr>
          <a:xfrm>
            <a:off x="5454318" y="6174770"/>
            <a:ext cx="6266245" cy="226031"/>
          </a:xfrm>
          <a:prstGeom prst="rect">
            <a:avLst/>
          </a:prstGeom>
        </p:spPr>
        <p:txBody>
          <a:bodyPr anchor="b"/>
          <a:lstStyle>
            <a:lvl1pPr marL="0" indent="0" algn="r">
              <a:buNone/>
              <a:defRPr sz="800" i="1">
                <a:solidFill>
                  <a:schemeClr val="tx2"/>
                </a:solidFill>
                <a:latin typeface="Source Sans Pro Light" panose="020B0403030403020204" pitchFamily="34" charset="0"/>
              </a:defRPr>
            </a:lvl1pPr>
          </a:lstStyle>
          <a:p>
            <a:pPr lvl="0"/>
            <a:r>
              <a:rPr lang="en-US" dirty="0"/>
              <a:t>Click to edit sources</a:t>
            </a:r>
          </a:p>
        </p:txBody>
      </p:sp>
    </p:spTree>
    <p:extLst>
      <p:ext uri="{BB962C8B-B14F-4D97-AF65-F5344CB8AC3E}">
        <p14:creationId xmlns:p14="http://schemas.microsoft.com/office/powerpoint/2010/main" val="15533295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wo Content">
    <p:spTree>
      <p:nvGrpSpPr>
        <p:cNvPr id="1" name=""/>
        <p:cNvGrpSpPr/>
        <p:nvPr/>
      </p:nvGrpSpPr>
      <p:grpSpPr>
        <a:xfrm>
          <a:off x="0" y="0"/>
          <a:ext cx="0" cy="0"/>
          <a:chOff x="0" y="0"/>
          <a:chExt cx="0" cy="0"/>
        </a:xfrm>
      </p:grpSpPr>
      <p:sp>
        <p:nvSpPr>
          <p:cNvPr id="8" name="Content Placeholder 2"/>
          <p:cNvSpPr>
            <a:spLocks noGrp="1"/>
          </p:cNvSpPr>
          <p:nvPr>
            <p:ph sz="half" idx="13"/>
          </p:nvPr>
        </p:nvSpPr>
        <p:spPr>
          <a:xfrm>
            <a:off x="6661048" y="1255059"/>
            <a:ext cx="4997365" cy="4958545"/>
          </a:xfrm>
          <a:prstGeom prst="rect">
            <a:avLst/>
          </a:prstGeom>
        </p:spPr>
        <p:txBody>
          <a:bodyPr lIns="0" tIns="0" rIns="0" bIns="0"/>
          <a:lstStyle>
            <a:lvl1pPr marL="182875" indent="-164588">
              <a:lnSpc>
                <a:spcPct val="100000"/>
              </a:lnSpc>
              <a:spcBef>
                <a:spcPts val="600"/>
              </a:spcBef>
              <a:buFontTx/>
              <a:buBlip>
                <a:blip r:embed="rId2"/>
              </a:buBlip>
              <a:defRPr sz="200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1pPr>
            <a:lvl2pPr marL="374895" indent="-182875">
              <a:lnSpc>
                <a:spcPct val="100000"/>
              </a:lnSpc>
              <a:spcBef>
                <a:spcPts val="300"/>
              </a:spcBef>
              <a:buSzPct val="83000"/>
              <a:buFontTx/>
              <a:buBlip>
                <a:blip r:embed="rId2"/>
              </a:buBlip>
              <a:defRPr sz="1800" baseline="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2pPr>
            <a:lvl3pPr marL="1200121" marR="0" indent="-285744" algn="l" defTabSz="457189" rtl="0" eaLnBrk="1" fontAlgn="auto" latinLnBrk="0" hangingPunct="1">
              <a:lnSpc>
                <a:spcPct val="100000"/>
              </a:lnSpc>
              <a:spcBef>
                <a:spcPct val="20000"/>
              </a:spcBef>
              <a:spcAft>
                <a:spcPts val="0"/>
              </a:spcAft>
              <a:buClrTx/>
              <a:buSzTx/>
              <a:buFontTx/>
              <a:buBlip>
                <a:blip r:embed="rId2"/>
              </a:buBlip>
              <a:tabLst/>
              <a:defRPr lang="en-US" sz="1600" kern="1200" dirty="0" smtClean="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3" name="Content Placeholder 2"/>
          <p:cNvSpPr>
            <a:spLocks noGrp="1"/>
          </p:cNvSpPr>
          <p:nvPr>
            <p:ph sz="half" idx="1"/>
          </p:nvPr>
        </p:nvSpPr>
        <p:spPr>
          <a:xfrm>
            <a:off x="1119230" y="1255059"/>
            <a:ext cx="5070769" cy="4958545"/>
          </a:xfrm>
          <a:prstGeom prst="rect">
            <a:avLst/>
          </a:prstGeom>
        </p:spPr>
        <p:txBody>
          <a:bodyPr lIns="0" tIns="0" rIns="0" bIns="0"/>
          <a:lstStyle>
            <a:lvl1pPr marL="182875" indent="-164588">
              <a:lnSpc>
                <a:spcPct val="100000"/>
              </a:lnSpc>
              <a:spcBef>
                <a:spcPts val="600"/>
              </a:spcBef>
              <a:buFontTx/>
              <a:buBlip>
                <a:blip r:embed="rId2"/>
              </a:buBlip>
              <a:defRPr sz="200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1pPr>
            <a:lvl2pPr marL="374895" indent="-182875">
              <a:lnSpc>
                <a:spcPct val="100000"/>
              </a:lnSpc>
              <a:spcBef>
                <a:spcPts val="300"/>
              </a:spcBef>
              <a:buSzPct val="83000"/>
              <a:buFontTx/>
              <a:buBlip>
                <a:blip r:embed="rId2"/>
              </a:buBlip>
              <a:defRPr sz="1800" baseline="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2pPr>
            <a:lvl3pPr marL="1142971" indent="-228594">
              <a:buFontTx/>
              <a:buBlip>
                <a:blip r:embed="rId2"/>
              </a:buBlip>
              <a:defRPr sz="160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20"/>
          <p:cNvSpPr>
            <a:spLocks noGrp="1"/>
          </p:cNvSpPr>
          <p:nvPr>
            <p:ph type="title"/>
          </p:nvPr>
        </p:nvSpPr>
        <p:spPr>
          <a:xfrm>
            <a:off x="532451" y="108419"/>
            <a:ext cx="11189019" cy="513416"/>
          </a:xfrm>
          <a:prstGeom prst="rect">
            <a:avLst/>
          </a:prstGeom>
        </p:spPr>
        <p:txBody>
          <a:bodyPr anchor="t" anchorCtr="0"/>
          <a:lstStyle>
            <a:lvl1pPr algn="l">
              <a:defRPr sz="3200" b="0">
                <a:solidFill>
                  <a:schemeClr val="tx1"/>
                </a:solidFill>
                <a:latin typeface="Roboto Light" panose="02000000000000000000" pitchFamily="2" charset="0"/>
                <a:ea typeface="Roboto Light" panose="02000000000000000000" pitchFamily="2" charset="0"/>
                <a:cs typeface="Open Sans Condensed Light" panose="020B0306030504020204" pitchFamily="34" charset="0"/>
              </a:defRPr>
            </a:lvl1pPr>
          </a:lstStyle>
          <a:p>
            <a:r>
              <a:rPr lang="en-US" dirty="0"/>
              <a:t>Click to edit Master title style</a:t>
            </a:r>
          </a:p>
        </p:txBody>
      </p:sp>
      <p:sp>
        <p:nvSpPr>
          <p:cNvPr id="7" name="Content Placeholder 4"/>
          <p:cNvSpPr>
            <a:spLocks noGrp="1"/>
          </p:cNvSpPr>
          <p:nvPr>
            <p:ph sz="quarter" idx="11" hasCustomPrompt="1"/>
          </p:nvPr>
        </p:nvSpPr>
        <p:spPr>
          <a:xfrm>
            <a:off x="5454318" y="6174770"/>
            <a:ext cx="6266245" cy="226031"/>
          </a:xfrm>
          <a:prstGeom prst="rect">
            <a:avLst/>
          </a:prstGeom>
        </p:spPr>
        <p:txBody>
          <a:bodyPr anchor="b"/>
          <a:lstStyle>
            <a:lvl1pPr marL="0" indent="0" algn="r">
              <a:buNone/>
              <a:defRPr sz="800" i="1">
                <a:solidFill>
                  <a:schemeClr val="tx2"/>
                </a:solidFill>
                <a:latin typeface="Source Sans Pro Light" panose="020B0403030403020204" pitchFamily="34" charset="0"/>
              </a:defRPr>
            </a:lvl1pPr>
          </a:lstStyle>
          <a:p>
            <a:pPr lvl="0"/>
            <a:r>
              <a:rPr lang="en-US" dirty="0"/>
              <a:t>Click to edit sources</a:t>
            </a:r>
          </a:p>
        </p:txBody>
      </p:sp>
    </p:spTree>
    <p:extLst>
      <p:ext uri="{BB962C8B-B14F-4D97-AF65-F5344CB8AC3E}">
        <p14:creationId xmlns:p14="http://schemas.microsoft.com/office/powerpoint/2010/main" val="5835149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240955"/>
          </a:xfrm>
        </p:spPr>
        <p:txBody>
          <a:bodyPr>
            <a:normAutofit/>
          </a:bodyPr>
          <a:lstStyle>
            <a:lvl1pPr marL="0" indent="0">
              <a:buNone/>
              <a:defRPr sz="1333">
                <a:solidFill>
                  <a:schemeClr val="bg2">
                    <a:lumMod val="50000"/>
                  </a:schemeClr>
                </a:solidFill>
              </a:defRPr>
            </a:lvl1pPr>
            <a:lvl2pPr>
              <a:defRPr sz="1333">
                <a:solidFill>
                  <a:schemeClr val="bg2">
                    <a:lumMod val="50000"/>
                  </a:schemeClr>
                </a:solidFill>
              </a:defRPr>
            </a:lvl2pPr>
            <a:lvl3pPr>
              <a:defRPr sz="1333">
                <a:solidFill>
                  <a:schemeClr val="bg2">
                    <a:lumMod val="50000"/>
                  </a:schemeClr>
                </a:solidFill>
              </a:defRPr>
            </a:lvl3pPr>
            <a:lvl4pPr>
              <a:defRPr sz="1333">
                <a:solidFill>
                  <a:schemeClr val="bg2">
                    <a:lumMod val="50000"/>
                  </a:schemeClr>
                </a:solidFill>
              </a:defRPr>
            </a:lvl4pPr>
            <a:lvl5pPr>
              <a:defRPr sz="1333">
                <a:solidFill>
                  <a:schemeClr val="bg2">
                    <a:lumMod val="50000"/>
                  </a:schemeClr>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1"/>
            <a:ext cx="5384800" cy="4240955"/>
          </a:xfrm>
        </p:spPr>
        <p:txBody>
          <a:bodyPr>
            <a:normAutofit/>
          </a:bodyPr>
          <a:lstStyle>
            <a:lvl1pPr marL="0" indent="0">
              <a:buNone/>
              <a:defRPr sz="1333">
                <a:solidFill>
                  <a:schemeClr val="bg2">
                    <a:lumMod val="50000"/>
                  </a:schemeClr>
                </a:solidFill>
              </a:defRPr>
            </a:lvl1pPr>
            <a:lvl2pPr>
              <a:defRPr sz="1333">
                <a:solidFill>
                  <a:schemeClr val="bg2">
                    <a:lumMod val="50000"/>
                  </a:schemeClr>
                </a:solidFill>
              </a:defRPr>
            </a:lvl2pPr>
            <a:lvl3pPr>
              <a:defRPr sz="1333">
                <a:solidFill>
                  <a:schemeClr val="bg2">
                    <a:lumMod val="50000"/>
                  </a:schemeClr>
                </a:solidFill>
              </a:defRPr>
            </a:lvl3pPr>
            <a:lvl4pPr>
              <a:defRPr sz="1333">
                <a:solidFill>
                  <a:schemeClr val="bg2">
                    <a:lumMod val="50000"/>
                  </a:schemeClr>
                </a:solidFill>
              </a:defRPr>
            </a:lvl4pPr>
            <a:lvl5pPr>
              <a:defRPr sz="1333">
                <a:solidFill>
                  <a:schemeClr val="bg2">
                    <a:lumMod val="50000"/>
                  </a:schemeClr>
                </a:solidFill>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3">
            <a:extLst>
              <a:ext uri="{FF2B5EF4-FFF2-40B4-BE49-F238E27FC236}">
                <a16:creationId xmlns:a16="http://schemas.microsoft.com/office/drawing/2014/main" id="{C659078D-A7EF-48E9-97E0-D2CD916FF983}"/>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41004036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8" name="Content Placeholder 2"/>
          <p:cNvSpPr>
            <a:spLocks noGrp="1"/>
          </p:cNvSpPr>
          <p:nvPr>
            <p:ph sz="half" idx="13"/>
          </p:nvPr>
        </p:nvSpPr>
        <p:spPr>
          <a:xfrm>
            <a:off x="6661048" y="1255059"/>
            <a:ext cx="4997365" cy="4958545"/>
          </a:xfrm>
          <a:prstGeom prst="rect">
            <a:avLst/>
          </a:prstGeom>
        </p:spPr>
        <p:txBody>
          <a:bodyPr lIns="0" tIns="0" rIns="0" bIns="0"/>
          <a:lstStyle>
            <a:lvl1pPr marL="182875" indent="-164588">
              <a:lnSpc>
                <a:spcPct val="100000"/>
              </a:lnSpc>
              <a:spcBef>
                <a:spcPts val="600"/>
              </a:spcBef>
              <a:buFontTx/>
              <a:buBlip>
                <a:blip r:embed="rId2"/>
              </a:buBlip>
              <a:defRPr sz="240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1pPr>
            <a:lvl2pPr marL="374895" indent="-182875">
              <a:lnSpc>
                <a:spcPct val="100000"/>
              </a:lnSpc>
              <a:spcBef>
                <a:spcPts val="300"/>
              </a:spcBef>
              <a:buSzPct val="83000"/>
              <a:buFontTx/>
              <a:buBlip>
                <a:blip r:embed="rId2"/>
              </a:buBlip>
              <a:defRPr sz="2000" baseline="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2pPr>
            <a:lvl3pPr marL="1200121" marR="0" indent="-285744" algn="l" defTabSz="457189" rtl="0" eaLnBrk="1" fontAlgn="auto" latinLnBrk="0" hangingPunct="1">
              <a:lnSpc>
                <a:spcPct val="100000"/>
              </a:lnSpc>
              <a:spcBef>
                <a:spcPct val="20000"/>
              </a:spcBef>
              <a:spcAft>
                <a:spcPts val="0"/>
              </a:spcAft>
              <a:buClrTx/>
              <a:buSzTx/>
              <a:buFontTx/>
              <a:buBlip>
                <a:blip r:embed="rId2"/>
              </a:buBlip>
              <a:tabLst/>
              <a:defRPr lang="en-US" sz="1800" kern="1200" dirty="0" smtClean="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3" name="Content Placeholder 2"/>
          <p:cNvSpPr>
            <a:spLocks noGrp="1"/>
          </p:cNvSpPr>
          <p:nvPr>
            <p:ph sz="half" idx="1"/>
          </p:nvPr>
        </p:nvSpPr>
        <p:spPr>
          <a:xfrm>
            <a:off x="1119230" y="1255059"/>
            <a:ext cx="5070769" cy="4958545"/>
          </a:xfrm>
          <a:prstGeom prst="rect">
            <a:avLst/>
          </a:prstGeom>
        </p:spPr>
        <p:txBody>
          <a:bodyPr lIns="0" tIns="0" rIns="0" bIns="0"/>
          <a:lstStyle>
            <a:lvl1pPr marL="182875" indent="-164588">
              <a:lnSpc>
                <a:spcPct val="100000"/>
              </a:lnSpc>
              <a:spcBef>
                <a:spcPts val="600"/>
              </a:spcBef>
              <a:buFontTx/>
              <a:buBlip>
                <a:blip r:embed="rId2"/>
              </a:buBlip>
              <a:defRPr sz="240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1pPr>
            <a:lvl2pPr marL="374895" indent="-182875">
              <a:lnSpc>
                <a:spcPct val="100000"/>
              </a:lnSpc>
              <a:spcBef>
                <a:spcPts val="300"/>
              </a:spcBef>
              <a:buSzPct val="83000"/>
              <a:buFontTx/>
              <a:buBlip>
                <a:blip r:embed="rId2"/>
              </a:buBlip>
              <a:defRPr sz="2000" baseline="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2pPr>
            <a:lvl3pPr marL="1142971" indent="-228594">
              <a:buFontTx/>
              <a:buBlip>
                <a:blip r:embed="rId2"/>
              </a:buBlip>
              <a:defRPr sz="180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20"/>
          <p:cNvSpPr>
            <a:spLocks noGrp="1"/>
          </p:cNvSpPr>
          <p:nvPr>
            <p:ph type="title"/>
          </p:nvPr>
        </p:nvSpPr>
        <p:spPr>
          <a:xfrm>
            <a:off x="532451" y="108419"/>
            <a:ext cx="11189019" cy="513416"/>
          </a:xfrm>
          <a:prstGeom prst="rect">
            <a:avLst/>
          </a:prstGeom>
        </p:spPr>
        <p:txBody>
          <a:bodyPr anchor="t" anchorCtr="0"/>
          <a:lstStyle>
            <a:lvl1pPr algn="l">
              <a:defRPr sz="3200" b="0">
                <a:solidFill>
                  <a:schemeClr val="tx1"/>
                </a:solidFill>
                <a:latin typeface="Roboto Light" panose="02000000000000000000" pitchFamily="2" charset="0"/>
                <a:ea typeface="Roboto Light" panose="02000000000000000000" pitchFamily="2" charset="0"/>
                <a:cs typeface="Open Sans Condensed Light" panose="020B0306030504020204" pitchFamily="34" charset="0"/>
              </a:defRPr>
            </a:lvl1pPr>
          </a:lstStyle>
          <a:p>
            <a:r>
              <a:rPr lang="en-US" dirty="0"/>
              <a:t>Click to edit Master title style</a:t>
            </a:r>
          </a:p>
        </p:txBody>
      </p:sp>
      <p:sp>
        <p:nvSpPr>
          <p:cNvPr id="7" name="Content Placeholder 4"/>
          <p:cNvSpPr>
            <a:spLocks noGrp="1"/>
          </p:cNvSpPr>
          <p:nvPr>
            <p:ph sz="quarter" idx="11" hasCustomPrompt="1"/>
          </p:nvPr>
        </p:nvSpPr>
        <p:spPr>
          <a:xfrm>
            <a:off x="5454318" y="6174770"/>
            <a:ext cx="6266245" cy="226031"/>
          </a:xfrm>
          <a:prstGeom prst="rect">
            <a:avLst/>
          </a:prstGeom>
        </p:spPr>
        <p:txBody>
          <a:bodyPr anchor="b"/>
          <a:lstStyle>
            <a:lvl1pPr marL="0" indent="0" algn="r">
              <a:buNone/>
              <a:defRPr sz="800" i="1">
                <a:solidFill>
                  <a:schemeClr val="tx2"/>
                </a:solidFill>
                <a:latin typeface="Source Sans Pro Light" panose="020B0403030403020204" pitchFamily="34" charset="0"/>
              </a:defRPr>
            </a:lvl1pPr>
          </a:lstStyle>
          <a:p>
            <a:pPr lvl="0"/>
            <a:r>
              <a:rPr lang="en-US" dirty="0"/>
              <a:t>Click to edit sources</a:t>
            </a:r>
          </a:p>
        </p:txBody>
      </p:sp>
    </p:spTree>
    <p:extLst>
      <p:ext uri="{BB962C8B-B14F-4D97-AF65-F5344CB8AC3E}">
        <p14:creationId xmlns:p14="http://schemas.microsoft.com/office/powerpoint/2010/main" val="37348605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758545" y="1130968"/>
            <a:ext cx="3962923" cy="4984021"/>
          </a:xfrm>
          <a:prstGeom prst="rect">
            <a:avLst/>
          </a:prstGeom>
        </p:spPr>
        <p:txBody>
          <a:bodyPr lIns="0" tIns="0" rIns="0" bIns="0" anchor="t"/>
          <a:lstStyle>
            <a:lvl1pPr marL="182875" indent="-164588">
              <a:lnSpc>
                <a:spcPct val="100000"/>
              </a:lnSpc>
              <a:spcBef>
                <a:spcPts val="600"/>
              </a:spcBef>
              <a:buFontTx/>
              <a:buBlip>
                <a:blip r:embed="rId2"/>
              </a:buBlip>
              <a:defRPr sz="200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1pPr>
            <a:lvl2pPr marL="374895" indent="-182875">
              <a:lnSpc>
                <a:spcPct val="100000"/>
              </a:lnSpc>
              <a:spcBef>
                <a:spcPts val="300"/>
              </a:spcBef>
              <a:buSzPct val="83000"/>
              <a:buFontTx/>
              <a:buBlip>
                <a:blip r:embed="rId2"/>
              </a:buBlip>
              <a:defRPr sz="1800" baseline="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2pPr>
            <a:lvl3pPr marL="690545" indent="-117472">
              <a:buFontTx/>
              <a:buBlip>
                <a:blip r:embed="rId2"/>
              </a:buBlip>
              <a:defRPr sz="1600">
                <a:solidFill>
                  <a:srgbClr val="4E5255"/>
                </a:solidFill>
                <a:latin typeface="Arial Nova" panose="020B0504020202020204" pitchFamily="34" charset="0"/>
                <a:ea typeface="Source Sans Pro" panose="020B0503030403020204" pitchFamily="34" charset="0"/>
                <a:cs typeface="Open Sans Condensed Light" panose="020B030603050402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Title 20"/>
          <p:cNvSpPr>
            <a:spLocks noGrp="1"/>
          </p:cNvSpPr>
          <p:nvPr>
            <p:ph type="title"/>
          </p:nvPr>
        </p:nvSpPr>
        <p:spPr>
          <a:xfrm>
            <a:off x="532451" y="108419"/>
            <a:ext cx="11189019" cy="513416"/>
          </a:xfrm>
          <a:prstGeom prst="rect">
            <a:avLst/>
          </a:prstGeom>
        </p:spPr>
        <p:txBody>
          <a:bodyPr anchor="t" anchorCtr="0"/>
          <a:lstStyle>
            <a:lvl1pPr algn="l">
              <a:defRPr sz="3200" b="0">
                <a:solidFill>
                  <a:schemeClr val="tx1"/>
                </a:solidFill>
                <a:latin typeface="Roboto Light" panose="02000000000000000000" pitchFamily="2" charset="0"/>
                <a:ea typeface="Roboto Light" panose="02000000000000000000" pitchFamily="2" charset="0"/>
                <a:cs typeface="Open Sans Condensed Light" panose="020B0306030504020204" pitchFamily="34" charset="0"/>
              </a:defRPr>
            </a:lvl1pPr>
          </a:lstStyle>
          <a:p>
            <a:r>
              <a:rPr lang="en-US" dirty="0"/>
              <a:t>Click to edit Master title style</a:t>
            </a:r>
          </a:p>
        </p:txBody>
      </p:sp>
      <p:sp>
        <p:nvSpPr>
          <p:cNvPr id="6" name="Content Placeholder 4"/>
          <p:cNvSpPr>
            <a:spLocks noGrp="1"/>
          </p:cNvSpPr>
          <p:nvPr>
            <p:ph sz="quarter" idx="11" hasCustomPrompt="1"/>
          </p:nvPr>
        </p:nvSpPr>
        <p:spPr>
          <a:xfrm>
            <a:off x="5454318" y="6174770"/>
            <a:ext cx="6266245" cy="226031"/>
          </a:xfrm>
          <a:prstGeom prst="rect">
            <a:avLst/>
          </a:prstGeom>
        </p:spPr>
        <p:txBody>
          <a:bodyPr anchor="b"/>
          <a:lstStyle>
            <a:lvl1pPr marL="0" indent="0" algn="r">
              <a:buNone/>
              <a:defRPr sz="800" i="1">
                <a:solidFill>
                  <a:schemeClr val="tx2"/>
                </a:solidFill>
                <a:latin typeface="Source Sans Pro Light" panose="020B0403030403020204" pitchFamily="34" charset="0"/>
              </a:defRPr>
            </a:lvl1pPr>
          </a:lstStyle>
          <a:p>
            <a:pPr lvl="0"/>
            <a:r>
              <a:rPr lang="en-US" dirty="0"/>
              <a:t>Click to edit sources</a:t>
            </a:r>
          </a:p>
        </p:txBody>
      </p:sp>
    </p:spTree>
    <p:extLst>
      <p:ext uri="{BB962C8B-B14F-4D97-AF65-F5344CB8AC3E}">
        <p14:creationId xmlns:p14="http://schemas.microsoft.com/office/powerpoint/2010/main" val="872193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normAutofit/>
          </a:bodyPr>
          <a:lstStyle>
            <a:lvl1pPr marL="0" indent="0">
              <a:buNone/>
              <a:defRPr sz="1600" b="0">
                <a:solidFill>
                  <a:schemeClr val="tx1"/>
                </a:solidFill>
              </a:defRPr>
            </a:lvl1pPr>
            <a:lvl2pPr marL="609515" indent="0">
              <a:buNone/>
              <a:defRPr sz="2667" b="1"/>
            </a:lvl2pPr>
            <a:lvl3pPr marL="1219031" indent="0">
              <a:buNone/>
              <a:defRPr sz="2400" b="1"/>
            </a:lvl3pPr>
            <a:lvl4pPr marL="1828546" indent="0">
              <a:buNone/>
              <a:defRPr sz="2133" b="1"/>
            </a:lvl4pPr>
            <a:lvl5pPr marL="2438062" indent="0">
              <a:buNone/>
              <a:defRPr sz="2133" b="1"/>
            </a:lvl5pPr>
            <a:lvl6pPr marL="3047577" indent="0">
              <a:buNone/>
              <a:defRPr sz="2133" b="1"/>
            </a:lvl6pPr>
            <a:lvl7pPr marL="3657093" indent="0">
              <a:buNone/>
              <a:defRPr sz="2133" b="1"/>
            </a:lvl7pPr>
            <a:lvl8pPr marL="4266608" indent="0">
              <a:buNone/>
              <a:defRPr sz="2133" b="1"/>
            </a:lvl8pPr>
            <a:lvl9pPr marL="4876123"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7"/>
            <a:ext cx="5386917" cy="3666281"/>
          </a:xfrm>
        </p:spPr>
        <p:txBody>
          <a:bodyPr>
            <a:normAutofit/>
          </a:bodyPr>
          <a:lstStyle>
            <a:lvl1pPr>
              <a:defRPr sz="1333"/>
            </a:lvl1pPr>
            <a:lvl2pPr>
              <a:defRPr sz="1333"/>
            </a:lvl2pPr>
            <a:lvl3pPr>
              <a:defRPr sz="1333"/>
            </a:lvl3pPr>
            <a:lvl4pPr>
              <a:defRPr sz="1333"/>
            </a:lvl4pPr>
            <a:lvl5pPr>
              <a:defRPr sz="13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70" y="1535113"/>
            <a:ext cx="5389033" cy="639763"/>
          </a:xfrm>
        </p:spPr>
        <p:txBody>
          <a:bodyPr anchor="b">
            <a:normAutofit/>
          </a:bodyPr>
          <a:lstStyle>
            <a:lvl1pPr marL="0" indent="0">
              <a:buNone/>
              <a:defRPr sz="1600" b="0">
                <a:solidFill>
                  <a:schemeClr val="tx1"/>
                </a:solidFill>
              </a:defRPr>
            </a:lvl1pPr>
            <a:lvl2pPr marL="609515" indent="0">
              <a:buNone/>
              <a:defRPr sz="2667" b="1"/>
            </a:lvl2pPr>
            <a:lvl3pPr marL="1219031" indent="0">
              <a:buNone/>
              <a:defRPr sz="2400" b="1"/>
            </a:lvl3pPr>
            <a:lvl4pPr marL="1828546" indent="0">
              <a:buNone/>
              <a:defRPr sz="2133" b="1"/>
            </a:lvl4pPr>
            <a:lvl5pPr marL="2438062" indent="0">
              <a:buNone/>
              <a:defRPr sz="2133" b="1"/>
            </a:lvl5pPr>
            <a:lvl6pPr marL="3047577" indent="0">
              <a:buNone/>
              <a:defRPr sz="2133" b="1"/>
            </a:lvl6pPr>
            <a:lvl7pPr marL="3657093" indent="0">
              <a:buNone/>
              <a:defRPr sz="2133" b="1"/>
            </a:lvl7pPr>
            <a:lvl8pPr marL="4266608" indent="0">
              <a:buNone/>
              <a:defRPr sz="2133" b="1"/>
            </a:lvl8pPr>
            <a:lvl9pPr marL="4876123"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0" y="2174877"/>
            <a:ext cx="5389033" cy="3666281"/>
          </a:xfrm>
        </p:spPr>
        <p:txBody>
          <a:bodyPr>
            <a:normAutofit/>
          </a:bodyPr>
          <a:lstStyle>
            <a:lvl1pPr>
              <a:defRPr sz="1333"/>
            </a:lvl1pPr>
            <a:lvl2pPr>
              <a:defRPr sz="1333"/>
            </a:lvl2pPr>
            <a:lvl3pPr>
              <a:defRPr sz="1333"/>
            </a:lvl3pPr>
            <a:lvl4pPr>
              <a:defRPr sz="1333"/>
            </a:lvl4pPr>
            <a:lvl5pPr>
              <a:defRPr sz="13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3">
            <a:extLst>
              <a:ext uri="{FF2B5EF4-FFF2-40B4-BE49-F238E27FC236}">
                <a16:creationId xmlns:a16="http://schemas.microsoft.com/office/drawing/2014/main" id="{A2A508DD-9201-4226-B670-C11F41A0CFD5}"/>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29198225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13">
            <a:extLst>
              <a:ext uri="{FF2B5EF4-FFF2-40B4-BE49-F238E27FC236}">
                <a16:creationId xmlns:a16="http://schemas.microsoft.com/office/drawing/2014/main" id="{E9047097-1B42-4D5F-BB9B-63468A57B6C7}"/>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19809460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671D962-39BF-43FE-830F-95B3D0F343D9}"/>
              </a:ext>
            </a:extLst>
          </p:cNvPr>
          <p:cNvSpPr>
            <a:spLocks noGrp="1"/>
          </p:cNvSpPr>
          <p:nvPr>
            <p:ph type="title"/>
          </p:nvPr>
        </p:nvSpPr>
        <p:spPr>
          <a:xfrm>
            <a:off x="609600" y="564444"/>
            <a:ext cx="10972800" cy="563389"/>
          </a:xfrm>
        </p:spPr>
        <p:txBody>
          <a:bodyPr/>
          <a:lstStyle/>
          <a:p>
            <a:r>
              <a:rPr lang="en-US"/>
              <a:t>Click to edit Master title style</a:t>
            </a:r>
          </a:p>
        </p:txBody>
      </p:sp>
      <p:sp>
        <p:nvSpPr>
          <p:cNvPr id="4" name="Text Placeholder 13">
            <a:extLst>
              <a:ext uri="{FF2B5EF4-FFF2-40B4-BE49-F238E27FC236}">
                <a16:creationId xmlns:a16="http://schemas.microsoft.com/office/drawing/2014/main" id="{1379B9C5-1DD2-4DA0-97C6-989DDD388E11}"/>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27922584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49"/>
            <a:ext cx="4011084" cy="1162051"/>
          </a:xfrm>
        </p:spPr>
        <p:txBody>
          <a:bodyPr anchor="b"/>
          <a:lstStyle>
            <a:lvl1pPr algn="l">
              <a:defRPr sz="2667" b="0"/>
            </a:lvl1pPr>
          </a:lstStyle>
          <a:p>
            <a:r>
              <a:rPr lang="en-US"/>
              <a:t>Click to edit Master title style</a:t>
            </a:r>
            <a:endParaRPr lang="en-US" dirty="0"/>
          </a:p>
        </p:txBody>
      </p:sp>
      <p:sp>
        <p:nvSpPr>
          <p:cNvPr id="3" name="Content Placeholder 2"/>
          <p:cNvSpPr>
            <a:spLocks noGrp="1"/>
          </p:cNvSpPr>
          <p:nvPr>
            <p:ph idx="1"/>
          </p:nvPr>
        </p:nvSpPr>
        <p:spPr>
          <a:xfrm>
            <a:off x="4766735" y="273051"/>
            <a:ext cx="6815667" cy="5557388"/>
          </a:xfrm>
        </p:spPr>
        <p:txBody>
          <a:bodyPr>
            <a:normAutofit/>
          </a:bodyPr>
          <a:lstStyle>
            <a:lvl1pPr>
              <a:defRPr sz="1333"/>
            </a:lvl1pPr>
            <a:lvl2pPr>
              <a:defRPr sz="1333"/>
            </a:lvl2pPr>
            <a:lvl3pPr>
              <a:defRPr sz="1333"/>
            </a:lvl3pPr>
            <a:lvl4pPr>
              <a:defRPr sz="1333"/>
            </a:lvl4pPr>
            <a:lvl5pPr>
              <a:defRPr sz="1333"/>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3" y="1435104"/>
            <a:ext cx="4011084" cy="4395337"/>
          </a:xfrm>
        </p:spPr>
        <p:txBody>
          <a:bodyPr>
            <a:normAutofit/>
          </a:bodyPr>
          <a:lstStyle>
            <a:lvl1pPr marL="0" indent="0">
              <a:buNone/>
              <a:defRPr sz="1600">
                <a:solidFill>
                  <a:srgbClr val="070707"/>
                </a:solidFill>
              </a:defRPr>
            </a:lvl1pPr>
            <a:lvl2pPr marL="609515" indent="0">
              <a:buNone/>
              <a:defRPr sz="1600"/>
            </a:lvl2pPr>
            <a:lvl3pPr marL="1219031" indent="0">
              <a:buNone/>
              <a:defRPr sz="1333"/>
            </a:lvl3pPr>
            <a:lvl4pPr marL="1828546" indent="0">
              <a:buNone/>
              <a:defRPr sz="1200"/>
            </a:lvl4pPr>
            <a:lvl5pPr marL="2438062" indent="0">
              <a:buNone/>
              <a:defRPr sz="1200"/>
            </a:lvl5pPr>
            <a:lvl6pPr marL="3047577" indent="0">
              <a:buNone/>
              <a:defRPr sz="1200"/>
            </a:lvl6pPr>
            <a:lvl7pPr marL="3657093" indent="0">
              <a:buNone/>
              <a:defRPr sz="1200"/>
            </a:lvl7pPr>
            <a:lvl8pPr marL="4266608" indent="0">
              <a:buNone/>
              <a:defRPr sz="1200"/>
            </a:lvl8pPr>
            <a:lvl9pPr marL="4876123" indent="0">
              <a:buNone/>
              <a:defRPr sz="1200"/>
            </a:lvl9pPr>
          </a:lstStyle>
          <a:p>
            <a:pPr lvl="0"/>
            <a:r>
              <a:rPr lang="en-US"/>
              <a:t>Click to edit Master text styles</a:t>
            </a:r>
          </a:p>
        </p:txBody>
      </p:sp>
      <p:sp>
        <p:nvSpPr>
          <p:cNvPr id="6" name="Text Placeholder 13">
            <a:extLst>
              <a:ext uri="{FF2B5EF4-FFF2-40B4-BE49-F238E27FC236}">
                <a16:creationId xmlns:a16="http://schemas.microsoft.com/office/drawing/2014/main" id="{49551010-0BC5-4E1B-92A3-DAA3C1C45334}"/>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26323512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char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81039" y="1279419"/>
            <a:ext cx="6201363" cy="4327407"/>
          </a:xfrm>
        </p:spPr>
        <p:txBody>
          <a:bodyPr>
            <a:normAutofit/>
          </a:bodyPr>
          <a:lstStyle>
            <a:lvl1pPr>
              <a:defRPr sz="1333"/>
            </a:lvl1pPr>
            <a:lvl2pPr>
              <a:defRPr sz="1333"/>
            </a:lvl2pPr>
            <a:lvl3pPr>
              <a:defRPr sz="1333"/>
            </a:lvl3pPr>
            <a:lvl4pPr>
              <a:defRPr sz="1333"/>
            </a:lvl4pPr>
            <a:lvl5pPr>
              <a:defRPr sz="1333"/>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1"/>
          <p:cNvSpPr>
            <a:spLocks noGrp="1"/>
          </p:cNvSpPr>
          <p:nvPr>
            <p:ph type="title"/>
          </p:nvPr>
        </p:nvSpPr>
        <p:spPr>
          <a:xfrm>
            <a:off x="609600" y="564444"/>
            <a:ext cx="10972800" cy="563389"/>
          </a:xfrm>
        </p:spPr>
        <p:txBody>
          <a:bodyPr/>
          <a:lstStyle/>
          <a:p>
            <a:r>
              <a:rPr lang="en-US"/>
              <a:t>Click to edit Master title style</a:t>
            </a:r>
          </a:p>
        </p:txBody>
      </p:sp>
      <p:sp>
        <p:nvSpPr>
          <p:cNvPr id="8" name="Text Placeholder 7"/>
          <p:cNvSpPr>
            <a:spLocks noGrp="1"/>
          </p:cNvSpPr>
          <p:nvPr>
            <p:ph type="body" sz="quarter" idx="13"/>
          </p:nvPr>
        </p:nvSpPr>
        <p:spPr>
          <a:xfrm>
            <a:off x="611482" y="1278712"/>
            <a:ext cx="4759677" cy="43187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3">
            <a:extLst>
              <a:ext uri="{FF2B5EF4-FFF2-40B4-BE49-F238E27FC236}">
                <a16:creationId xmlns:a16="http://schemas.microsoft.com/office/drawing/2014/main" id="{F655BE01-7D98-4A97-BE28-FC66AF2CD61C}"/>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23102960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itle, text, char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22072" y="1269649"/>
            <a:ext cx="6201363" cy="4327407"/>
          </a:xfrm>
        </p:spPr>
        <p:txBody>
          <a:bodyPr>
            <a:normAutofit/>
          </a:bodyPr>
          <a:lstStyle>
            <a:lvl1pPr marL="0" indent="0">
              <a:buNone/>
              <a:defRPr sz="1333">
                <a:solidFill>
                  <a:schemeClr val="bg2">
                    <a:lumMod val="50000"/>
                  </a:schemeClr>
                </a:solidFill>
              </a:defRPr>
            </a:lvl1pPr>
            <a:lvl2pPr>
              <a:defRPr sz="1333">
                <a:solidFill>
                  <a:schemeClr val="bg2">
                    <a:lumMod val="50000"/>
                  </a:schemeClr>
                </a:solidFill>
              </a:defRPr>
            </a:lvl2pPr>
            <a:lvl3pPr>
              <a:defRPr sz="1333">
                <a:solidFill>
                  <a:schemeClr val="bg2">
                    <a:lumMod val="50000"/>
                  </a:schemeClr>
                </a:solidFill>
              </a:defRPr>
            </a:lvl3pPr>
            <a:lvl4pPr>
              <a:defRPr sz="1333">
                <a:solidFill>
                  <a:schemeClr val="bg2">
                    <a:lumMod val="50000"/>
                  </a:schemeClr>
                </a:solidFill>
              </a:defRPr>
            </a:lvl4pPr>
            <a:lvl5pPr>
              <a:defRPr sz="1333">
                <a:solidFill>
                  <a:schemeClr val="bg2">
                    <a:lumMod val="50000"/>
                  </a:schemeClr>
                </a:solidFil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1"/>
          <p:cNvSpPr>
            <a:spLocks noGrp="1"/>
          </p:cNvSpPr>
          <p:nvPr>
            <p:ph type="title"/>
          </p:nvPr>
        </p:nvSpPr>
        <p:spPr>
          <a:xfrm>
            <a:off x="609600" y="564444"/>
            <a:ext cx="10972800" cy="563389"/>
          </a:xfrm>
        </p:spPr>
        <p:txBody>
          <a:bodyPr/>
          <a:lstStyle>
            <a:lvl1pPr algn="l">
              <a:defRPr/>
            </a:lvl1pPr>
          </a:lstStyle>
          <a:p>
            <a:r>
              <a:rPr lang="en-US"/>
              <a:t>Click to edit Master title style</a:t>
            </a:r>
            <a:endParaRPr lang="en-US" dirty="0"/>
          </a:p>
        </p:txBody>
      </p:sp>
      <p:sp>
        <p:nvSpPr>
          <p:cNvPr id="8" name="Text Placeholder 7"/>
          <p:cNvSpPr>
            <a:spLocks noGrp="1"/>
          </p:cNvSpPr>
          <p:nvPr>
            <p:ph type="body" sz="quarter" idx="13"/>
          </p:nvPr>
        </p:nvSpPr>
        <p:spPr>
          <a:xfrm>
            <a:off x="609600" y="1269648"/>
            <a:ext cx="4759677" cy="4318704"/>
          </a:xfrm>
        </p:spPr>
        <p:txBody>
          <a:bodyPr/>
          <a:lstStyle>
            <a:lvl1pPr marL="0" indent="0">
              <a:buNone/>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3">
            <a:extLst>
              <a:ext uri="{FF2B5EF4-FFF2-40B4-BE49-F238E27FC236}">
                <a16:creationId xmlns:a16="http://schemas.microsoft.com/office/drawing/2014/main" id="{BB33D19F-18D8-4A27-BDD7-EE357E584DFA}"/>
              </a:ext>
            </a:extLst>
          </p:cNvPr>
          <p:cNvSpPr>
            <a:spLocks noGrp="1"/>
          </p:cNvSpPr>
          <p:nvPr>
            <p:ph type="body" sz="quarter" idx="10" hasCustomPrompt="1"/>
          </p:nvPr>
        </p:nvSpPr>
        <p:spPr>
          <a:xfrm>
            <a:off x="8049686" y="6390218"/>
            <a:ext cx="3566583" cy="247649"/>
          </a:xfrm>
        </p:spPr>
        <p:txBody>
          <a:bodyPr>
            <a:normAutofit/>
          </a:bodyPr>
          <a:lstStyle>
            <a:lvl1pPr marL="0" indent="0" algn="r">
              <a:buNone/>
              <a:defRPr sz="933">
                <a:solidFill>
                  <a:schemeClr val="tx2"/>
                </a:solidFill>
              </a:defRPr>
            </a:lvl1pPr>
          </a:lstStyle>
          <a:p>
            <a:pPr lvl="0"/>
            <a:r>
              <a:rPr lang="en-US" dirty="0"/>
              <a:t>Click to add source</a:t>
            </a:r>
          </a:p>
        </p:txBody>
      </p:sp>
    </p:spTree>
    <p:extLst>
      <p:ext uri="{BB962C8B-B14F-4D97-AF65-F5344CB8AC3E}">
        <p14:creationId xmlns:p14="http://schemas.microsoft.com/office/powerpoint/2010/main" val="169800509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20779"/>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907" tIns="60953" rIns="121907" bIns="60953" rtlCol="0" anchor="ctr"/>
          <a:lstStyle/>
          <a:p>
            <a:pPr algn="ctr"/>
            <a:endParaRPr lang="en-US" sz="2400" dirty="0"/>
          </a:p>
        </p:txBody>
      </p:sp>
      <p:sp>
        <p:nvSpPr>
          <p:cNvPr id="2" name="Title Placeholder 1"/>
          <p:cNvSpPr>
            <a:spLocks noGrp="1"/>
          </p:cNvSpPr>
          <p:nvPr>
            <p:ph type="title"/>
          </p:nvPr>
        </p:nvSpPr>
        <p:spPr>
          <a:xfrm>
            <a:off x="609600" y="564444"/>
            <a:ext cx="10972800" cy="563389"/>
          </a:xfrm>
          <a:prstGeom prst="rect">
            <a:avLst/>
          </a:prstGeom>
        </p:spPr>
        <p:txBody>
          <a:bodyPr vert="horz" lIns="91430" tIns="45715" rIns="91430" bIns="45715"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4"/>
            <a:ext cx="10972800" cy="3950169"/>
          </a:xfrm>
          <a:prstGeom prst="rect">
            <a:avLst/>
          </a:prstGeom>
        </p:spPr>
        <p:txBody>
          <a:bodyPr vert="horz" lIns="91430" tIns="45715" rIns="91430"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a:extLst>
              <a:ext uri="{FF2B5EF4-FFF2-40B4-BE49-F238E27FC236}">
                <a16:creationId xmlns:a16="http://schemas.microsoft.com/office/drawing/2014/main" id="{7BDB8A93-081E-4014-A998-C2837AA9111B}"/>
              </a:ext>
            </a:extLst>
          </p:cNvPr>
          <p:cNvSpPr/>
          <p:nvPr userDrawn="1"/>
        </p:nvSpPr>
        <p:spPr>
          <a:xfrm>
            <a:off x="563496" y="6687961"/>
            <a:ext cx="2446008" cy="170039"/>
          </a:xfrm>
          <a:prstGeom prst="rect">
            <a:avLst/>
          </a:prstGeom>
          <a:solidFill>
            <a:srgbClr val="65350F"/>
          </a:solidFill>
          <a:ln w="1270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400" dirty="0"/>
          </a:p>
        </p:txBody>
      </p:sp>
      <p:pic>
        <p:nvPicPr>
          <p:cNvPr id="10" name="Picture 9">
            <a:extLst>
              <a:ext uri="{FF2B5EF4-FFF2-40B4-BE49-F238E27FC236}">
                <a16:creationId xmlns:a16="http://schemas.microsoft.com/office/drawing/2014/main" id="{6527881A-EFCF-48F4-AAA7-D8A21DA158C4}"/>
              </a:ext>
            </a:extLst>
          </p:cNvPr>
          <p:cNvPicPr>
            <a:picLocks noChangeAspect="1"/>
          </p:cNvPicPr>
          <p:nvPr userDrawn="1"/>
        </p:nvPicPr>
        <p:blipFill>
          <a:blip r:embed="rId33"/>
          <a:stretch>
            <a:fillRect/>
          </a:stretch>
        </p:blipFill>
        <p:spPr>
          <a:xfrm>
            <a:off x="609602" y="6076914"/>
            <a:ext cx="2349909" cy="483247"/>
          </a:xfrm>
          <a:prstGeom prst="rect">
            <a:avLst/>
          </a:prstGeom>
        </p:spPr>
      </p:pic>
      <p:sp>
        <p:nvSpPr>
          <p:cNvPr id="12" name="Textfeld 5">
            <a:extLst>
              <a:ext uri="{FF2B5EF4-FFF2-40B4-BE49-F238E27FC236}">
                <a16:creationId xmlns:a16="http://schemas.microsoft.com/office/drawing/2014/main" id="{50384B80-6ADB-4020-9BD9-3966A014DE3B}"/>
              </a:ext>
            </a:extLst>
          </p:cNvPr>
          <p:cNvSpPr txBox="1"/>
          <p:nvPr userDrawn="1"/>
        </p:nvSpPr>
        <p:spPr>
          <a:xfrm>
            <a:off x="9901085" y="6350951"/>
            <a:ext cx="2150668" cy="297454"/>
          </a:xfrm>
          <a:prstGeom prst="rect">
            <a:avLst/>
          </a:prstGeom>
          <a:noFill/>
        </p:spPr>
        <p:txBody>
          <a:bodyPr wrap="square" rtlCol="0">
            <a:spAutoFit/>
          </a:bodyPr>
          <a:lstStyle/>
          <a:p>
            <a:pPr algn="r"/>
            <a:r>
              <a:rPr lang="de-DE" sz="1333" dirty="0">
                <a:solidFill>
                  <a:schemeClr val="bg1">
                    <a:lumMod val="75000"/>
                  </a:schemeClr>
                </a:solidFill>
                <a:latin typeface="Helvetica" panose="020B0500000000000000" pitchFamily="34" charset="0"/>
              </a:rPr>
              <a:t>|  </a:t>
            </a:r>
            <a:fld id="{260E2A6B-A809-4840-BF14-8648BC0BDF87}" type="slidenum">
              <a:rPr lang="id-ID" sz="1333" b="0" smtClean="0">
                <a:solidFill>
                  <a:srgbClr val="007298"/>
                </a:solidFill>
                <a:latin typeface="Arial Nova" panose="020B0504020202020204" pitchFamily="34" charset="0"/>
                <a:cs typeface="Calibri Light"/>
              </a:rPr>
              <a:pPr algn="r"/>
              <a:t>‹#›</a:t>
            </a:fld>
            <a:endParaRPr lang="de-DE" sz="1333" b="0" dirty="0">
              <a:solidFill>
                <a:srgbClr val="007298"/>
              </a:solidFill>
              <a:latin typeface="Arial Nova" panose="020B0504020202020204" pitchFamily="34" charset="0"/>
            </a:endParaRPr>
          </a:p>
        </p:txBody>
      </p:sp>
      <p:sp>
        <p:nvSpPr>
          <p:cNvPr id="13" name="Rectangle 12">
            <a:extLst>
              <a:ext uri="{FF2B5EF4-FFF2-40B4-BE49-F238E27FC236}">
                <a16:creationId xmlns:a16="http://schemas.microsoft.com/office/drawing/2014/main" id="{51C3D9AA-D3F3-4955-8755-52A1B21E652F}"/>
              </a:ext>
            </a:extLst>
          </p:cNvPr>
          <p:cNvSpPr/>
          <p:nvPr userDrawn="1"/>
        </p:nvSpPr>
        <p:spPr>
          <a:xfrm>
            <a:off x="6154993" y="6687962"/>
            <a:ext cx="6037008" cy="172065"/>
          </a:xfrm>
          <a:prstGeom prst="rect">
            <a:avLst/>
          </a:prstGeom>
          <a:solidFill>
            <a:srgbClr val="94D60A"/>
          </a:solidFill>
          <a:ln w="1270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400" dirty="0"/>
          </a:p>
        </p:txBody>
      </p:sp>
      <p:sp>
        <p:nvSpPr>
          <p:cNvPr id="14" name="Rectangle 13">
            <a:extLst>
              <a:ext uri="{FF2B5EF4-FFF2-40B4-BE49-F238E27FC236}">
                <a16:creationId xmlns:a16="http://schemas.microsoft.com/office/drawing/2014/main" id="{EE4DB7E2-6217-433B-B172-384B77CC4217}"/>
              </a:ext>
            </a:extLst>
          </p:cNvPr>
          <p:cNvSpPr/>
          <p:nvPr userDrawn="1"/>
        </p:nvSpPr>
        <p:spPr>
          <a:xfrm>
            <a:off x="3052562" y="6687962"/>
            <a:ext cx="3059375" cy="172065"/>
          </a:xfrm>
          <a:prstGeom prst="rect">
            <a:avLst/>
          </a:prstGeom>
          <a:solidFill>
            <a:srgbClr val="007298"/>
          </a:solidFill>
          <a:ln w="1270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26594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txStyles>
    <p:titleStyle>
      <a:lvl1pPr algn="l" defTabSz="609515" rtl="0" eaLnBrk="1" latinLnBrk="0" hangingPunct="1">
        <a:spcBef>
          <a:spcPct val="0"/>
        </a:spcBef>
        <a:buNone/>
        <a:defRPr sz="2667" kern="1200">
          <a:solidFill>
            <a:schemeClr val="tx1"/>
          </a:solidFill>
          <a:latin typeface="Roboto Light"/>
          <a:ea typeface="+mj-ea"/>
          <a:cs typeface="Roboto Light"/>
        </a:defRPr>
      </a:lvl1pPr>
    </p:titleStyle>
    <p:bodyStyle>
      <a:lvl1pPr marL="457137" indent="-457137" algn="l" defTabSz="609515" rtl="0" eaLnBrk="1" latinLnBrk="0" hangingPunct="1">
        <a:spcBef>
          <a:spcPct val="20000"/>
        </a:spcBef>
        <a:buFont typeface="Arial"/>
        <a:buChar char="•"/>
        <a:defRPr sz="1333" kern="1200">
          <a:solidFill>
            <a:schemeClr val="tx2"/>
          </a:solidFill>
          <a:latin typeface="Arial Nova" panose="020B0504020202020204" pitchFamily="34" charset="0"/>
          <a:ea typeface="+mn-ea"/>
          <a:cs typeface="Arial Nova" panose="020B0504020202020204" pitchFamily="34" charset="0"/>
        </a:defRPr>
      </a:lvl1pPr>
      <a:lvl2pPr marL="990462" indent="-380946" algn="l" defTabSz="609515" rtl="0" eaLnBrk="1" latinLnBrk="0" hangingPunct="1">
        <a:spcBef>
          <a:spcPct val="20000"/>
        </a:spcBef>
        <a:buFont typeface="Arial"/>
        <a:buChar char="–"/>
        <a:defRPr sz="1333" kern="1200">
          <a:solidFill>
            <a:schemeClr val="tx2"/>
          </a:solidFill>
          <a:latin typeface="Arial Nova" panose="020B0504020202020204" pitchFamily="34" charset="0"/>
          <a:ea typeface="+mn-ea"/>
          <a:cs typeface="Arial Nova" panose="020B0504020202020204" pitchFamily="34" charset="0"/>
        </a:defRPr>
      </a:lvl2pPr>
      <a:lvl3pPr marL="1523789" indent="-304758" algn="l" defTabSz="609515" rtl="0" eaLnBrk="1" latinLnBrk="0" hangingPunct="1">
        <a:spcBef>
          <a:spcPct val="20000"/>
        </a:spcBef>
        <a:buFont typeface="Arial"/>
        <a:buChar char="•"/>
        <a:defRPr sz="1333" kern="1200">
          <a:solidFill>
            <a:schemeClr val="tx2"/>
          </a:solidFill>
          <a:latin typeface="Arial Nova" panose="020B0504020202020204" pitchFamily="34" charset="0"/>
          <a:ea typeface="+mn-ea"/>
          <a:cs typeface="Arial Nova" panose="020B0504020202020204" pitchFamily="34" charset="0"/>
        </a:defRPr>
      </a:lvl3pPr>
      <a:lvl4pPr marL="2133304" indent="-304758" algn="l" defTabSz="609515" rtl="0" eaLnBrk="1" latinLnBrk="0" hangingPunct="1">
        <a:spcBef>
          <a:spcPct val="20000"/>
        </a:spcBef>
        <a:buFont typeface="Arial"/>
        <a:buChar char="–"/>
        <a:defRPr sz="1333" kern="1200">
          <a:solidFill>
            <a:schemeClr val="tx2"/>
          </a:solidFill>
          <a:latin typeface="Arial Nova" panose="020B0504020202020204" pitchFamily="34" charset="0"/>
          <a:ea typeface="+mn-ea"/>
          <a:cs typeface="Arial Nova" panose="020B0504020202020204" pitchFamily="34" charset="0"/>
        </a:defRPr>
      </a:lvl4pPr>
      <a:lvl5pPr marL="2742819" indent="-304758" algn="l" defTabSz="609515" rtl="0" eaLnBrk="1" latinLnBrk="0" hangingPunct="1">
        <a:spcBef>
          <a:spcPct val="20000"/>
        </a:spcBef>
        <a:buFont typeface="Arial"/>
        <a:buChar char="»"/>
        <a:defRPr sz="1333" kern="1200">
          <a:solidFill>
            <a:schemeClr val="tx2"/>
          </a:solidFill>
          <a:latin typeface="Arial Nova" panose="020B0504020202020204" pitchFamily="34" charset="0"/>
          <a:ea typeface="+mn-ea"/>
          <a:cs typeface="Arial Nova" panose="020B0504020202020204" pitchFamily="34" charset="0"/>
        </a:defRPr>
      </a:lvl5pPr>
      <a:lvl6pPr marL="3352335" indent="-304758" algn="l" defTabSz="609515" rtl="0" eaLnBrk="1" latinLnBrk="0" hangingPunct="1">
        <a:spcBef>
          <a:spcPct val="20000"/>
        </a:spcBef>
        <a:buFont typeface="Arial"/>
        <a:buChar char="•"/>
        <a:defRPr sz="2667" kern="1200">
          <a:solidFill>
            <a:schemeClr val="tx1"/>
          </a:solidFill>
          <a:latin typeface="+mn-lt"/>
          <a:ea typeface="+mn-ea"/>
          <a:cs typeface="+mn-cs"/>
        </a:defRPr>
      </a:lvl6pPr>
      <a:lvl7pPr marL="3961850" indent="-304758" algn="l" defTabSz="609515" rtl="0" eaLnBrk="1" latinLnBrk="0" hangingPunct="1">
        <a:spcBef>
          <a:spcPct val="20000"/>
        </a:spcBef>
        <a:buFont typeface="Arial"/>
        <a:buChar char="•"/>
        <a:defRPr sz="2667" kern="1200">
          <a:solidFill>
            <a:schemeClr val="tx1"/>
          </a:solidFill>
          <a:latin typeface="+mn-lt"/>
          <a:ea typeface="+mn-ea"/>
          <a:cs typeface="+mn-cs"/>
        </a:defRPr>
      </a:lvl7pPr>
      <a:lvl8pPr marL="4571366" indent="-304758" algn="l" defTabSz="609515" rtl="0" eaLnBrk="1" latinLnBrk="0" hangingPunct="1">
        <a:spcBef>
          <a:spcPct val="20000"/>
        </a:spcBef>
        <a:buFont typeface="Arial"/>
        <a:buChar char="•"/>
        <a:defRPr sz="2667" kern="1200">
          <a:solidFill>
            <a:schemeClr val="tx1"/>
          </a:solidFill>
          <a:latin typeface="+mn-lt"/>
          <a:ea typeface="+mn-ea"/>
          <a:cs typeface="+mn-cs"/>
        </a:defRPr>
      </a:lvl8pPr>
      <a:lvl9pPr marL="5180881" indent="-304758" algn="l" defTabSz="60951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15" rtl="0" eaLnBrk="1" latinLnBrk="0" hangingPunct="1">
        <a:defRPr sz="2400" kern="1200">
          <a:solidFill>
            <a:schemeClr val="tx1"/>
          </a:solidFill>
          <a:latin typeface="+mn-lt"/>
          <a:ea typeface="+mn-ea"/>
          <a:cs typeface="+mn-cs"/>
        </a:defRPr>
      </a:lvl1pPr>
      <a:lvl2pPr marL="609515" algn="l" defTabSz="609515" rtl="0" eaLnBrk="1" latinLnBrk="0" hangingPunct="1">
        <a:defRPr sz="2400" kern="1200">
          <a:solidFill>
            <a:schemeClr val="tx1"/>
          </a:solidFill>
          <a:latin typeface="+mn-lt"/>
          <a:ea typeface="+mn-ea"/>
          <a:cs typeface="+mn-cs"/>
        </a:defRPr>
      </a:lvl2pPr>
      <a:lvl3pPr marL="1219031" algn="l" defTabSz="609515" rtl="0" eaLnBrk="1" latinLnBrk="0" hangingPunct="1">
        <a:defRPr sz="2400" kern="1200">
          <a:solidFill>
            <a:schemeClr val="tx1"/>
          </a:solidFill>
          <a:latin typeface="+mn-lt"/>
          <a:ea typeface="+mn-ea"/>
          <a:cs typeface="+mn-cs"/>
        </a:defRPr>
      </a:lvl3pPr>
      <a:lvl4pPr marL="1828546" algn="l" defTabSz="609515" rtl="0" eaLnBrk="1" latinLnBrk="0" hangingPunct="1">
        <a:defRPr sz="2400" kern="1200">
          <a:solidFill>
            <a:schemeClr val="tx1"/>
          </a:solidFill>
          <a:latin typeface="+mn-lt"/>
          <a:ea typeface="+mn-ea"/>
          <a:cs typeface="+mn-cs"/>
        </a:defRPr>
      </a:lvl4pPr>
      <a:lvl5pPr marL="2438062" algn="l" defTabSz="609515" rtl="0" eaLnBrk="1" latinLnBrk="0" hangingPunct="1">
        <a:defRPr sz="2400" kern="1200">
          <a:solidFill>
            <a:schemeClr val="tx1"/>
          </a:solidFill>
          <a:latin typeface="+mn-lt"/>
          <a:ea typeface="+mn-ea"/>
          <a:cs typeface="+mn-cs"/>
        </a:defRPr>
      </a:lvl5pPr>
      <a:lvl6pPr marL="3047577" algn="l" defTabSz="609515" rtl="0" eaLnBrk="1" latinLnBrk="0" hangingPunct="1">
        <a:defRPr sz="2400" kern="1200">
          <a:solidFill>
            <a:schemeClr val="tx1"/>
          </a:solidFill>
          <a:latin typeface="+mn-lt"/>
          <a:ea typeface="+mn-ea"/>
          <a:cs typeface="+mn-cs"/>
        </a:defRPr>
      </a:lvl6pPr>
      <a:lvl7pPr marL="3657093" algn="l" defTabSz="609515" rtl="0" eaLnBrk="1" latinLnBrk="0" hangingPunct="1">
        <a:defRPr sz="2400" kern="1200">
          <a:solidFill>
            <a:schemeClr val="tx1"/>
          </a:solidFill>
          <a:latin typeface="+mn-lt"/>
          <a:ea typeface="+mn-ea"/>
          <a:cs typeface="+mn-cs"/>
        </a:defRPr>
      </a:lvl7pPr>
      <a:lvl8pPr marL="4266608" algn="l" defTabSz="609515" rtl="0" eaLnBrk="1" latinLnBrk="0" hangingPunct="1">
        <a:defRPr sz="2400" kern="1200">
          <a:solidFill>
            <a:schemeClr val="tx1"/>
          </a:solidFill>
          <a:latin typeface="+mn-lt"/>
          <a:ea typeface="+mn-ea"/>
          <a:cs typeface="+mn-cs"/>
        </a:defRPr>
      </a:lvl8pPr>
      <a:lvl9pPr marL="4876123" algn="l" defTabSz="60951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8.xml"/><Relationship Id="rId1" Type="http://schemas.openxmlformats.org/officeDocument/2006/relationships/vmlDrawing" Target="../drawings/vmlDrawing7.vml"/><Relationship Id="rId5" Type="http://schemas.openxmlformats.org/officeDocument/2006/relationships/image" Target="../media/image19.emf"/><Relationship Id="rId4" Type="http://schemas.openxmlformats.org/officeDocument/2006/relationships/oleObject" Target="file:///\\mkf-dc2\mckfunix\_Data\Sugar\dG_sugar_US_deliveries_sector.xlsx!mA_sector_del_hist!%5bdG_sugar_US_deliveries_sector.xlsx%5dmA_sector_del_hist%20Chart%203"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5.xml"/><Relationship Id="rId1" Type="http://schemas.openxmlformats.org/officeDocument/2006/relationships/vmlDrawing" Target="../drawings/vmlDrawing8.vml"/><Relationship Id="rId5" Type="http://schemas.openxmlformats.org/officeDocument/2006/relationships/image" Target="../media/image20.emf"/><Relationship Id="rId4" Type="http://schemas.openxmlformats.org/officeDocument/2006/relationships/oleObject" Target="file:///\\mkf-dc2\mckfunix\_Data\Sugar\dG_sugar_US_deliveries_sector.xlsx!cA_sector_del!%5bdG_sugar_US_deliveries_sector.xlsx%5dcA_sector_del%20Chart%2011" TargetMode="Externa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5.xml"/><Relationship Id="rId1" Type="http://schemas.openxmlformats.org/officeDocument/2006/relationships/vmlDrawing" Target="../drawings/vmlDrawing9.vml"/><Relationship Id="rId5" Type="http://schemas.openxmlformats.org/officeDocument/2006/relationships/image" Target="../media/image21.emf"/><Relationship Id="rId4" Type="http://schemas.openxmlformats.org/officeDocument/2006/relationships/oleObject" Target="file:///\\mkf-dc2\mckfunix\_Data\Sugar\dG_sugar_US_deliveries_sector.xlsx!cA_sector_del!%5bdG_sugar_US_deliveries_sector.xlsx%5dcA_sector_del%20Chart%208" TargetMode="External"/></Relationships>
</file>

<file path=ppt/slides/_rels/slide14.xml.rels><?xml version="1.0" encoding="UTF-8" standalone="yes"?>
<Relationships xmlns="http://schemas.openxmlformats.org/package/2006/relationships"><Relationship Id="rId3" Type="http://schemas.openxmlformats.org/officeDocument/2006/relationships/oleObject" Target="file:///\\mkf-dc2\mckfunix\Client_Presentations\AgOutlook\2020-02-21\candy%20industry%20sales%20ye%202019.xlsx!Candy_sales!%5bcandy%20industry%20sales%20ye%202019.xlsx%5dCandy_sales%20Chart%202" TargetMode="External"/><Relationship Id="rId2" Type="http://schemas.openxmlformats.org/officeDocument/2006/relationships/slideLayout" Target="../slideLayouts/slideLayout29.xml"/><Relationship Id="rId1" Type="http://schemas.openxmlformats.org/officeDocument/2006/relationships/vmlDrawing" Target="../drawings/vmlDrawing10.vml"/><Relationship Id="rId6" Type="http://schemas.openxmlformats.org/officeDocument/2006/relationships/image" Target="../media/image23.emf"/><Relationship Id="rId5" Type="http://schemas.openxmlformats.org/officeDocument/2006/relationships/oleObject" Target="file:///\\mkf-dc2\mckfunix\Client_Presentations\AgOutlook\2020-02-21\candy%20industry%20sales%20ye%202019.xlsx!Candy_sales!%5bcandy%20industry%20sales%20ye%202019.xlsx%5dCandy_sales%20Chart%201" TargetMode="External"/><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5.xml"/><Relationship Id="rId1" Type="http://schemas.openxmlformats.org/officeDocument/2006/relationships/vmlDrawing" Target="../drawings/vmlDrawing11.vml"/><Relationship Id="rId5" Type="http://schemas.openxmlformats.org/officeDocument/2006/relationships/image" Target="../media/image24.emf"/><Relationship Id="rId4" Type="http://schemas.openxmlformats.org/officeDocument/2006/relationships/oleObject" Target="file:///\\mkf-dc2\mckfunix\_Data\Sugar\dG_sugar_US_deliveries_sector.xlsx!cA_sector_del!%5bdG_sugar_US_deliveries_sector.xlsx%5dcA_sector_del%20Chart%209" TargetMode="External"/></Relationships>
</file>

<file path=ppt/slides/_rels/slide16.xml.rels><?xml version="1.0" encoding="UTF-8" standalone="yes"?>
<Relationships xmlns="http://schemas.openxmlformats.org/package/2006/relationships"><Relationship Id="rId3" Type="http://schemas.openxmlformats.org/officeDocument/2006/relationships/oleObject" Target="file:///\\mkf-dc2\mckfunix\Client_Presentations\AgOutlook\2020-02-21\Annual%20Dairy%20Product%20Data%20021820.xlsx!dairy_prod!%5bAnnual%20Dairy%20Product%20Data%20021820.xlsx%5ddairy_prod%20Chart%203" TargetMode="External"/><Relationship Id="rId2" Type="http://schemas.openxmlformats.org/officeDocument/2006/relationships/slideLayout" Target="../slideLayouts/slideLayout25.xml"/><Relationship Id="rId1" Type="http://schemas.openxmlformats.org/officeDocument/2006/relationships/vmlDrawing" Target="../drawings/vmlDrawing12.vml"/><Relationship Id="rId4" Type="http://schemas.openxmlformats.org/officeDocument/2006/relationships/image" Target="../media/image25.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5.xml"/><Relationship Id="rId1" Type="http://schemas.openxmlformats.org/officeDocument/2006/relationships/vmlDrawing" Target="../drawings/vmlDrawing13.vml"/><Relationship Id="rId5" Type="http://schemas.openxmlformats.org/officeDocument/2006/relationships/image" Target="../media/image26.emf"/><Relationship Id="rId4" Type="http://schemas.openxmlformats.org/officeDocument/2006/relationships/oleObject" Target="file:///\\docshare\mckfunix\Sugar\M-F_Publications\Presentations_Masters\DataWarehouse_Sugar_Prices.xlsx!Monthlies%20for%20Chart!%5bDataWarehouse_Sugar_Prices.xlsx%5dMonthlies%20for%20Chart%20Chart%201" TargetMode="Externa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vmlDrawing" Target="../drawings/vmlDrawing14.vml"/><Relationship Id="rId5" Type="http://schemas.openxmlformats.org/officeDocument/2006/relationships/image" Target="../media/image27.emf"/><Relationship Id="rId4" Type="http://schemas.openxmlformats.org/officeDocument/2006/relationships/oleObject" Target="file:///\\mkf-dc2\mckfunix\Sugar\M-F_Publications\Presentations_Masters\sugar%20containing%20products\SCP%20-%20ITC%20results%20disaggregated%202020-02.xlsx!charts!%5bSCP%20-%20ITC%20results%20disaggregated%202020-02.xlsx%5dcharts%20Chart%204"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jpeg"/><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117" Type="http://schemas.openxmlformats.org/officeDocument/2006/relationships/tags" Target="../tags/tag117.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6" Type="http://schemas.openxmlformats.org/officeDocument/2006/relationships/tags" Target="../tags/tag6.xml"/><Relationship Id="rId238" Type="http://schemas.openxmlformats.org/officeDocument/2006/relationships/tags" Target="../tags/tag238.xml"/><Relationship Id="rId23" Type="http://schemas.openxmlformats.org/officeDocument/2006/relationships/tags" Target="../tags/tag23.xml"/><Relationship Id="rId119" Type="http://schemas.openxmlformats.org/officeDocument/2006/relationships/tags" Target="../tags/tag119.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240" Type="http://schemas.openxmlformats.org/officeDocument/2006/relationships/tags" Target="../tags/tag240.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slideLayout" Target="../slideLayouts/slideLayout25.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notesSlide" Target="../notesSlides/notesSlide3.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image" Target="../media/image11.png"/><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106" Type="http://schemas.openxmlformats.org/officeDocument/2006/relationships/tags" Target="../tags/tag106.xml"/><Relationship Id="rId127" Type="http://schemas.openxmlformats.org/officeDocument/2006/relationships/tags" Target="../tags/tag127.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0.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file:///\\docshare\Mckfunix\Sugar\M-F_Publications\Presentations_Masters\taxed-population-US.xlsx!beveragetaxesUS!%5btaxed-population-US.xlsx%5dbeveragetaxesUS%20Chart%2012"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file:///\\mkf-dc2\mckfunix\_Data\Sugar\dG_sugar_US_deliveries_beet_cane.xlsx!cA_beet_cane_del!%5bdG_sugar_US_deliveries_beet_cane.xlsx%5dcA_beet_cane_del%20Chart%2012"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5.xml"/><Relationship Id="rId1" Type="http://schemas.openxmlformats.org/officeDocument/2006/relationships/vmlDrawing" Target="../drawings/vmlDrawing3.vml"/><Relationship Id="rId5" Type="http://schemas.openxmlformats.org/officeDocument/2006/relationships/image" Target="../media/image14.emf"/><Relationship Id="rId4" Type="http://schemas.openxmlformats.org/officeDocument/2006/relationships/oleObject" Target="file:///\\mkf-dc2\mckfunix\_Data\Sugar\dG_sugar_US_sweetener_consumption.xlsx!mA_sweet_per_cap!%5bdG_sugar_US_sweetener_consumption.xlsx%5dmA_sweet_per_cap%20Chart%201" TargetMode="Externa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5.xml"/><Relationship Id="rId1" Type="http://schemas.openxmlformats.org/officeDocument/2006/relationships/vmlDrawing" Target="../drawings/vmlDrawing4.vml"/><Relationship Id="rId5" Type="http://schemas.openxmlformats.org/officeDocument/2006/relationships/image" Target="../media/image15.emf"/><Relationship Id="rId4" Type="http://schemas.openxmlformats.org/officeDocument/2006/relationships/oleObject" Target="file:///\\mkf-dc2\mckfunix\_Data\Sugar\dG_sugar_US_sweetener_consumption.xlsx!mA_sweet_per_cap!%5bdG_sugar_US_sweetener_consumption.xlsx%5dmA_sweet_per_cap%20Chart%205"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8.xml"/><Relationship Id="rId1" Type="http://schemas.openxmlformats.org/officeDocument/2006/relationships/vmlDrawing" Target="../drawings/vmlDrawing5.vml"/><Relationship Id="rId5" Type="http://schemas.openxmlformats.org/officeDocument/2006/relationships/image" Target="../media/image16.emf"/><Relationship Id="rId4" Type="http://schemas.openxmlformats.org/officeDocument/2006/relationships/oleObject" Target="file:///\\mkf-dc2\mckfunix\_Data\Sugar\dG_sugar_US_sweetener_consumption.xlsx!mA_foodbev_del!%5bdG_sugar_US_sweetener_consumption.xlsx%5dmA_foodbev_del%20Chart%202"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5.xml"/><Relationship Id="rId1" Type="http://schemas.openxmlformats.org/officeDocument/2006/relationships/vmlDrawing" Target="../drawings/vmlDrawing6.vml"/><Relationship Id="rId5" Type="http://schemas.openxmlformats.org/officeDocument/2006/relationships/image" Target="../media/image17.emf"/><Relationship Id="rId4" Type="http://schemas.openxmlformats.org/officeDocument/2006/relationships/oleObject" Target="file:///\\docshare\mckfunix\Sugar\M-F_Publications\Presentations_Masters\DataWarehouse_Sugar_Prices.xlsx!Monthlies%20for%20Chart!%5bDataWarehouse_Sugar_Prices.xlsx%5dMonthlies%20for%20Chart%20Chart%203-1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
            <a:ext cx="12192000" cy="6857999"/>
          </a:xfrm>
          <a:prstGeom prst="rect">
            <a:avLst/>
          </a:prstGeom>
          <a:solidFill>
            <a:srgbClr val="007298"/>
          </a:solidFill>
          <a:ln>
            <a:noFill/>
          </a:ln>
          <a:effectLst/>
        </p:spPr>
        <p:style>
          <a:lnRef idx="1">
            <a:schemeClr val="accent1"/>
          </a:lnRef>
          <a:fillRef idx="3">
            <a:schemeClr val="accent1"/>
          </a:fillRef>
          <a:effectRef idx="2">
            <a:schemeClr val="accent1"/>
          </a:effectRef>
          <a:fontRef idx="minor">
            <a:schemeClr val="lt1"/>
          </a:fontRef>
        </p:style>
        <p:txBody>
          <a:bodyPr lIns="121907" tIns="60953" rIns="121907" bIns="60953" rtlCol="0" anchor="ctr"/>
          <a:lstStyle/>
          <a:p>
            <a:pPr algn="ctr" defTabSz="609515"/>
            <a:endParaRPr lang="en-US" sz="2400" dirty="0">
              <a:solidFill>
                <a:srgbClr val="F4F4F4"/>
              </a:solidFill>
              <a:latin typeface="Calibri"/>
            </a:endParaRPr>
          </a:p>
        </p:txBody>
      </p:sp>
      <p:sp>
        <p:nvSpPr>
          <p:cNvPr id="2" name="Title 1"/>
          <p:cNvSpPr>
            <a:spLocks noGrp="1"/>
          </p:cNvSpPr>
          <p:nvPr>
            <p:ph type="title"/>
          </p:nvPr>
        </p:nvSpPr>
        <p:spPr>
          <a:xfrm>
            <a:off x="1938766" y="3183528"/>
            <a:ext cx="8314465" cy="966219"/>
          </a:xfrm>
        </p:spPr>
        <p:txBody>
          <a:bodyPr>
            <a:noAutofit/>
          </a:bodyPr>
          <a:lstStyle/>
          <a:p>
            <a:pPr algn="ctr"/>
            <a:r>
              <a:rPr lang="en-US" sz="5333" dirty="0">
                <a:solidFill>
                  <a:schemeClr val="bg1"/>
                </a:solidFill>
              </a:rPr>
              <a:t>Sugar Consumption</a:t>
            </a:r>
          </a:p>
        </p:txBody>
      </p:sp>
      <p:sp>
        <p:nvSpPr>
          <p:cNvPr id="4" name="Round Same Side Corner Rectangle 3"/>
          <p:cNvSpPr/>
          <p:nvPr/>
        </p:nvSpPr>
        <p:spPr>
          <a:xfrm rot="10800000">
            <a:off x="4827024" y="0"/>
            <a:ext cx="2542189" cy="2806464"/>
          </a:xfrm>
          <a:prstGeom prst="round2SameRect">
            <a:avLst>
              <a:gd name="adj1" fmla="val 50000"/>
              <a:gd name="adj2" fmla="val 0"/>
            </a:avLst>
          </a:prstGeom>
          <a:solidFill>
            <a:schemeClr val="bg1">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lIns="121907" tIns="60953" rIns="121907" bIns="60953" rtlCol="0" anchor="ctr"/>
          <a:lstStyle/>
          <a:p>
            <a:pPr algn="ctr" defTabSz="609515"/>
            <a:endParaRPr lang="en-US" sz="2400">
              <a:solidFill>
                <a:srgbClr val="F4F4F4"/>
              </a:solidFill>
              <a:latin typeface="Calibri"/>
            </a:endParaRPr>
          </a:p>
        </p:txBody>
      </p:sp>
      <p:sp>
        <p:nvSpPr>
          <p:cNvPr id="5" name="Oval 4"/>
          <p:cNvSpPr/>
          <p:nvPr/>
        </p:nvSpPr>
        <p:spPr>
          <a:xfrm>
            <a:off x="4994952" y="428429"/>
            <a:ext cx="2206331" cy="2206331"/>
          </a:xfrm>
          <a:prstGeom prst="ellips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121907" tIns="60953" rIns="121907" bIns="60953" rtlCol="0" anchor="ctr"/>
          <a:lstStyle/>
          <a:p>
            <a:pPr algn="ctr" defTabSz="609515"/>
            <a:endParaRPr lang="en-US" sz="2400">
              <a:solidFill>
                <a:srgbClr val="F4F4F4"/>
              </a:solidFill>
              <a:latin typeface="Calibri"/>
            </a:endParaRPr>
          </a:p>
        </p:txBody>
      </p:sp>
      <p:sp>
        <p:nvSpPr>
          <p:cNvPr id="14" name="Shape 8841"/>
          <p:cNvSpPr/>
          <p:nvPr/>
        </p:nvSpPr>
        <p:spPr>
          <a:xfrm>
            <a:off x="4997179" y="551865"/>
            <a:ext cx="2208896" cy="1653539"/>
          </a:xfrm>
          <a:prstGeom prst="rect">
            <a:avLst/>
          </a:prstGeom>
          <a:ln w="12700">
            <a:miter lim="400000"/>
          </a:ln>
          <a:extLst>
            <a:ext uri="{C572A759-6A51-4108-AA02-DFA0A04FC94B}">
              <ma14:wrappingTextBoxFlag xmlns="" xmlns:ma14="http://schemas.microsoft.com/office/mac/drawingml/2011/main" val="1"/>
            </a:ext>
          </a:extLst>
        </p:spPr>
        <p:txBody>
          <a:bodyPr wrap="square" lIns="67727" tIns="67727" rIns="67727" bIns="67727" anchor="ctr">
            <a:spAutoFit/>
          </a:bodyPr>
          <a:lstStyle>
            <a:lvl1pPr defTabSz="457200">
              <a:lnSpc>
                <a:spcPct val="120000"/>
              </a:lnSpc>
              <a:defRPr sz="4000">
                <a:solidFill>
                  <a:srgbClr val="8E8E8E"/>
                </a:solidFill>
                <a:latin typeface="FontAwesome"/>
                <a:ea typeface="FontAwesome"/>
                <a:cs typeface="FontAwesome"/>
                <a:sym typeface="FontAwesome"/>
              </a:defRPr>
            </a:lvl1pPr>
          </a:lstStyle>
          <a:p>
            <a:pPr algn="ctr" defTabSz="609585">
              <a:defRPr sz="1800">
                <a:solidFill>
                  <a:srgbClr val="000000"/>
                </a:solidFill>
              </a:defRPr>
            </a:pPr>
            <a:endParaRPr lang="en-US" sz="8800" dirty="0">
              <a:solidFill>
                <a:srgbClr val="F4F4F4"/>
              </a:solidFill>
            </a:endParaRPr>
          </a:p>
        </p:txBody>
      </p:sp>
      <p:sp>
        <p:nvSpPr>
          <p:cNvPr id="15" name="Rectangle 14"/>
          <p:cNvSpPr/>
          <p:nvPr/>
        </p:nvSpPr>
        <p:spPr>
          <a:xfrm>
            <a:off x="0" y="6663580"/>
            <a:ext cx="12192000" cy="192304"/>
          </a:xfrm>
          <a:prstGeom prst="rect">
            <a:avLst/>
          </a:prstGeom>
          <a:solidFill>
            <a:schemeClr val="tx1">
              <a:alpha val="19000"/>
            </a:schemeClr>
          </a:solidFill>
          <a:ln>
            <a:noFill/>
          </a:ln>
          <a:effectLst/>
        </p:spPr>
        <p:style>
          <a:lnRef idx="1">
            <a:schemeClr val="accent1"/>
          </a:lnRef>
          <a:fillRef idx="3">
            <a:schemeClr val="accent1"/>
          </a:fillRef>
          <a:effectRef idx="2">
            <a:schemeClr val="accent1"/>
          </a:effectRef>
          <a:fontRef idx="minor">
            <a:schemeClr val="lt1"/>
          </a:fontRef>
        </p:style>
        <p:txBody>
          <a:bodyPr lIns="121907" tIns="60953" rIns="121907" bIns="60953" rtlCol="0" anchor="ctr"/>
          <a:lstStyle/>
          <a:p>
            <a:pPr algn="ctr" defTabSz="609515"/>
            <a:endParaRPr lang="en-US" sz="2400">
              <a:solidFill>
                <a:srgbClr val="F4F4F4"/>
              </a:solidFill>
              <a:latin typeface="Calibri"/>
            </a:endParaRPr>
          </a:p>
        </p:txBody>
      </p:sp>
      <p:sp>
        <p:nvSpPr>
          <p:cNvPr id="7" name="TextBox 6">
            <a:extLst>
              <a:ext uri="{FF2B5EF4-FFF2-40B4-BE49-F238E27FC236}">
                <a16:creationId xmlns:a16="http://schemas.microsoft.com/office/drawing/2014/main" id="{C1E22CD2-72C2-415B-8EEA-8647F94CECC3}"/>
              </a:ext>
            </a:extLst>
          </p:cNvPr>
          <p:cNvSpPr txBox="1"/>
          <p:nvPr/>
        </p:nvSpPr>
        <p:spPr>
          <a:xfrm>
            <a:off x="1938766" y="4281588"/>
            <a:ext cx="8314465" cy="1200329"/>
          </a:xfrm>
          <a:prstGeom prst="rect">
            <a:avLst/>
          </a:prstGeom>
          <a:noFill/>
        </p:spPr>
        <p:txBody>
          <a:bodyPr wrap="square" rtlCol="0">
            <a:spAutoFit/>
          </a:bodyPr>
          <a:lstStyle/>
          <a:p>
            <a:pPr marL="609515" lvl="1" algn="ctr" defTabSz="609515"/>
            <a:r>
              <a:rPr lang="en-US" sz="2400" dirty="0">
                <a:solidFill>
                  <a:srgbClr val="F4F4F4"/>
                </a:solidFill>
                <a:latin typeface="Roboto Light" panose="02000000000000000000" pitchFamily="2" charset="0"/>
                <a:ea typeface="Roboto Light" panose="02000000000000000000" pitchFamily="2" charset="0"/>
              </a:rPr>
              <a:t>U.S. sugar production, consumption, net imports</a:t>
            </a:r>
          </a:p>
          <a:p>
            <a:pPr marL="609515" lvl="1" algn="ctr" defTabSz="609515"/>
            <a:r>
              <a:rPr lang="en-US" sz="2400" dirty="0">
                <a:solidFill>
                  <a:srgbClr val="F4F4F4"/>
                </a:solidFill>
                <a:latin typeface="Roboto Light" panose="02000000000000000000" pitchFamily="2" charset="0"/>
                <a:ea typeface="Roboto Light" panose="02000000000000000000" pitchFamily="2" charset="0"/>
              </a:rPr>
              <a:t>Sugar deliveries by usage category and region</a:t>
            </a:r>
          </a:p>
          <a:p>
            <a:pPr marL="609515" lvl="1" algn="ctr" defTabSz="609515"/>
            <a:r>
              <a:rPr lang="en-US" sz="2400" dirty="0">
                <a:solidFill>
                  <a:srgbClr val="F4F4F4"/>
                </a:solidFill>
                <a:latin typeface="Roboto Light" panose="02000000000000000000" pitchFamily="2" charset="0"/>
                <a:ea typeface="Roboto Light" panose="02000000000000000000" pitchFamily="2" charset="0"/>
              </a:rPr>
              <a:t>Key drivers of U.S. sugar deliveries and consumption</a:t>
            </a:r>
          </a:p>
        </p:txBody>
      </p:sp>
      <p:pic>
        <p:nvPicPr>
          <p:cNvPr id="11" name="Picture 10" descr="A close up of a logo&#10;&#10;Description automatically generated">
            <a:extLst>
              <a:ext uri="{FF2B5EF4-FFF2-40B4-BE49-F238E27FC236}">
                <a16:creationId xmlns:a16="http://schemas.microsoft.com/office/drawing/2014/main" id="{D8E6C336-A87D-4514-8662-2260E777A0CB}"/>
              </a:ext>
            </a:extLst>
          </p:cNvPr>
          <p:cNvPicPr>
            <a:picLocks noChangeAspect="1"/>
          </p:cNvPicPr>
          <p:nvPr/>
        </p:nvPicPr>
        <p:blipFill>
          <a:blip r:embed="rId3"/>
          <a:stretch>
            <a:fillRect/>
          </a:stretch>
        </p:blipFill>
        <p:spPr>
          <a:xfrm>
            <a:off x="5277687" y="789756"/>
            <a:ext cx="1636621" cy="1593552"/>
          </a:xfrm>
          <a:prstGeom prst="rect">
            <a:avLst/>
          </a:prstGeom>
        </p:spPr>
      </p:pic>
      <p:pic>
        <p:nvPicPr>
          <p:cNvPr id="8" name="Picture 7" descr="A close up of celery&#10;&#10;Description automatically generated">
            <a:extLst>
              <a:ext uri="{FF2B5EF4-FFF2-40B4-BE49-F238E27FC236}">
                <a16:creationId xmlns:a16="http://schemas.microsoft.com/office/drawing/2014/main" id="{67C4C7DD-DFFE-4EDB-BE09-97B9B11DED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 y="-2"/>
            <a:ext cx="12192001" cy="6876287"/>
          </a:xfrm>
          <a:prstGeom prst="rect">
            <a:avLst/>
          </a:prstGeom>
        </p:spPr>
      </p:pic>
    </p:spTree>
    <p:extLst>
      <p:ext uri="{BB962C8B-B14F-4D97-AF65-F5344CB8AC3E}">
        <p14:creationId xmlns:p14="http://schemas.microsoft.com/office/powerpoint/2010/main" val="33516510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BA34E6-23E2-D34B-ACBB-E17616C5835D}"/>
              </a:ext>
            </a:extLst>
          </p:cNvPr>
          <p:cNvSpPr>
            <a:spLocks noGrp="1"/>
          </p:cNvSpPr>
          <p:nvPr>
            <p:ph type="title"/>
          </p:nvPr>
        </p:nvSpPr>
        <p:spPr>
          <a:xfrm>
            <a:off x="538329" y="101148"/>
            <a:ext cx="10972800" cy="563389"/>
          </a:xfrm>
        </p:spPr>
        <p:txBody>
          <a:bodyPr/>
          <a:lstStyle/>
          <a:p>
            <a:r>
              <a:rPr lang="en-US" dirty="0"/>
              <a:t>Sweetener &amp; soda taxes in the U.S.: Highly dilute potential influence</a:t>
            </a:r>
          </a:p>
        </p:txBody>
      </p:sp>
      <p:sp>
        <p:nvSpPr>
          <p:cNvPr id="4" name="Text Placeholder 3">
            <a:extLst>
              <a:ext uri="{FF2B5EF4-FFF2-40B4-BE49-F238E27FC236}">
                <a16:creationId xmlns:a16="http://schemas.microsoft.com/office/drawing/2014/main" id="{E44FDE72-DF8E-A843-AAF2-CCC373703A6B}"/>
              </a:ext>
            </a:extLst>
          </p:cNvPr>
          <p:cNvSpPr>
            <a:spLocks noGrp="1"/>
          </p:cNvSpPr>
          <p:nvPr>
            <p:ph type="body" sz="quarter" idx="13"/>
          </p:nvPr>
        </p:nvSpPr>
        <p:spPr>
          <a:xfrm>
            <a:off x="621830" y="1269648"/>
            <a:ext cx="4874919" cy="4318704"/>
          </a:xfrm>
        </p:spPr>
        <p:txBody>
          <a:bodyPr>
            <a:noAutofit/>
          </a:bodyPr>
          <a:lstStyle/>
          <a:p>
            <a:pPr marL="499860" lvl="1" indent="-243834" defTabSz="609585">
              <a:lnSpc>
                <a:spcPts val="1800"/>
              </a:lnSpc>
              <a:spcBef>
                <a:spcPts val="800"/>
              </a:spcBef>
              <a:buSzPct val="130000"/>
              <a:buBlip>
                <a:blip r:embed="rId3"/>
              </a:buBlip>
            </a:pPr>
            <a:r>
              <a:rPr lang="en-US" sz="1467" dirty="0">
                <a:solidFill>
                  <a:schemeClr val="bg1">
                    <a:lumMod val="25000"/>
                  </a:schemeClr>
                </a:solidFill>
                <a:ea typeface="Roboto Light" panose="02000000000000000000" pitchFamily="2" charset="0"/>
              </a:rPr>
              <a:t>FDA has changed the guidelines for nutrition labels on packaged goods to more clearly present the information that is more accurate and nutritionally valuable to consumers—at least theoretically.</a:t>
            </a:r>
          </a:p>
          <a:p>
            <a:pPr marL="499860" lvl="1" indent="-243834" defTabSz="609585">
              <a:lnSpc>
                <a:spcPts val="1800"/>
              </a:lnSpc>
              <a:spcBef>
                <a:spcPts val="800"/>
              </a:spcBef>
              <a:buSzPct val="130000"/>
              <a:buBlip>
                <a:blip r:embed="rId3"/>
              </a:buBlip>
            </a:pPr>
            <a:r>
              <a:rPr lang="en-US" sz="1467" dirty="0">
                <a:solidFill>
                  <a:schemeClr val="bg1">
                    <a:lumMod val="25000"/>
                  </a:schemeClr>
                </a:solidFill>
                <a:ea typeface="Roboto Light" panose="02000000000000000000" pitchFamily="2" charset="0"/>
              </a:rPr>
              <a:t>The new labels will make the number of servings per package and the serving size more visible (1). The most notable change, however, may be increasing the prominence of the calories per serving (2). Also significant: Labels will now identify more clearly the nutritional contribution of added sugars (3).</a:t>
            </a:r>
          </a:p>
          <a:p>
            <a:pPr marL="499860" lvl="1" indent="-243834" defTabSz="609585">
              <a:lnSpc>
                <a:spcPts val="1800"/>
              </a:lnSpc>
              <a:spcBef>
                <a:spcPts val="800"/>
              </a:spcBef>
              <a:buSzPct val="130000"/>
              <a:buBlip>
                <a:blip r:embed="rId3"/>
              </a:buBlip>
            </a:pPr>
            <a:r>
              <a:rPr lang="en-US" sz="1467" dirty="0">
                <a:solidFill>
                  <a:schemeClr val="bg1">
                    <a:lumMod val="25000"/>
                  </a:schemeClr>
                </a:solidFill>
                <a:ea typeface="Roboto Light" panose="02000000000000000000" pitchFamily="2" charset="0"/>
              </a:rPr>
              <a:t>According to FDA, the basis for calculating serving sizes may be modified to more realistically represent actual consumption patterns.</a:t>
            </a:r>
          </a:p>
          <a:p>
            <a:pPr marL="499860" lvl="1" indent="-243834" defTabSz="609585">
              <a:lnSpc>
                <a:spcPts val="1800"/>
              </a:lnSpc>
              <a:spcBef>
                <a:spcPts val="800"/>
              </a:spcBef>
              <a:buSzPct val="130000"/>
              <a:buBlip>
                <a:blip r:embed="rId3"/>
              </a:buBlip>
            </a:pPr>
            <a:r>
              <a:rPr lang="en-US" sz="1467" dirty="0">
                <a:solidFill>
                  <a:schemeClr val="bg1">
                    <a:lumMod val="25000"/>
                  </a:schemeClr>
                </a:solidFill>
                <a:ea typeface="Roboto Light" panose="02000000000000000000" pitchFamily="2" charset="0"/>
              </a:rPr>
              <a:t>Labels will no longer be required to present vitamin A and C, replaced by information on vitamin D and potassium, which FDA considers of greater importance for the average consumer (4).</a:t>
            </a:r>
          </a:p>
        </p:txBody>
      </p:sp>
      <p:sp>
        <p:nvSpPr>
          <p:cNvPr id="9" name="Content Placeholder 8">
            <a:extLst>
              <a:ext uri="{FF2B5EF4-FFF2-40B4-BE49-F238E27FC236}">
                <a16:creationId xmlns:a16="http://schemas.microsoft.com/office/drawing/2014/main" id="{0002EEF1-347B-414D-9002-422B871A09F9}"/>
              </a:ext>
            </a:extLst>
          </p:cNvPr>
          <p:cNvSpPr>
            <a:spLocks noGrp="1"/>
          </p:cNvSpPr>
          <p:nvPr>
            <p:ph type="body" sz="quarter" idx="10"/>
          </p:nvPr>
        </p:nvSpPr>
        <p:spPr>
          <a:xfrm>
            <a:off x="8049685" y="6390218"/>
            <a:ext cx="3566583" cy="247649"/>
          </a:xfrm>
        </p:spPr>
        <p:txBody>
          <a:bodyPr>
            <a:normAutofit/>
          </a:bodyPr>
          <a:lstStyle/>
          <a:p>
            <a:endParaRPr lang="en-US" dirty="0"/>
          </a:p>
        </p:txBody>
      </p:sp>
      <p:pic>
        <p:nvPicPr>
          <p:cNvPr id="11" name="Picture 10">
            <a:extLst>
              <a:ext uri="{FF2B5EF4-FFF2-40B4-BE49-F238E27FC236}">
                <a16:creationId xmlns:a16="http://schemas.microsoft.com/office/drawing/2014/main" id="{4720FECC-54A7-8E45-A463-4C80225F2D11}"/>
              </a:ext>
            </a:extLst>
          </p:cNvPr>
          <p:cNvPicPr>
            <a:picLocks noChangeAspect="1"/>
          </p:cNvPicPr>
          <p:nvPr/>
        </p:nvPicPr>
        <p:blipFill>
          <a:blip r:embed="rId4"/>
          <a:stretch>
            <a:fillRect/>
          </a:stretch>
        </p:blipFill>
        <p:spPr>
          <a:xfrm>
            <a:off x="6516134" y="1599673"/>
            <a:ext cx="4642932" cy="4318705"/>
          </a:xfrm>
          <a:prstGeom prst="rect">
            <a:avLst/>
          </a:prstGeom>
        </p:spPr>
      </p:pic>
      <p:sp>
        <p:nvSpPr>
          <p:cNvPr id="12" name="Content Placeholder 1">
            <a:extLst>
              <a:ext uri="{FF2B5EF4-FFF2-40B4-BE49-F238E27FC236}">
                <a16:creationId xmlns:a16="http://schemas.microsoft.com/office/drawing/2014/main" id="{698BAE7D-D9B1-D141-949A-4CA03C408F5C}"/>
              </a:ext>
            </a:extLst>
          </p:cNvPr>
          <p:cNvSpPr>
            <a:spLocks noGrp="1"/>
          </p:cNvSpPr>
          <p:nvPr>
            <p:ph idx="1"/>
          </p:nvPr>
        </p:nvSpPr>
        <p:spPr>
          <a:xfrm>
            <a:off x="6516134" y="1599672"/>
            <a:ext cx="2006977" cy="447776"/>
          </a:xfrm>
        </p:spPr>
        <p:txBody>
          <a:bodyPr>
            <a:noAutofit/>
          </a:bodyPr>
          <a:lstStyle/>
          <a:p>
            <a:pPr marL="0" indent="0" algn="ctr">
              <a:buNone/>
            </a:pPr>
            <a:r>
              <a:rPr lang="en-US" sz="1600" dirty="0">
                <a:solidFill>
                  <a:schemeClr val="bg1">
                    <a:lumMod val="25000"/>
                  </a:schemeClr>
                </a:solidFill>
                <a:latin typeface="Roboto" panose="02000000000000000000" pitchFamily="2" charset="0"/>
                <a:ea typeface="Roboto" panose="02000000000000000000" pitchFamily="2" charset="0"/>
              </a:rPr>
              <a:t>Original Label</a:t>
            </a:r>
          </a:p>
        </p:txBody>
      </p:sp>
      <p:sp>
        <p:nvSpPr>
          <p:cNvPr id="13" name="Content Placeholder 1">
            <a:extLst>
              <a:ext uri="{FF2B5EF4-FFF2-40B4-BE49-F238E27FC236}">
                <a16:creationId xmlns:a16="http://schemas.microsoft.com/office/drawing/2014/main" id="{531FF61F-F3E4-2443-A80E-5BBF0196EB5A}"/>
              </a:ext>
            </a:extLst>
          </p:cNvPr>
          <p:cNvSpPr txBox="1">
            <a:spLocks/>
          </p:cNvSpPr>
          <p:nvPr/>
        </p:nvSpPr>
        <p:spPr>
          <a:xfrm>
            <a:off x="9132711" y="1599672"/>
            <a:ext cx="2006976" cy="447776"/>
          </a:xfrm>
          <a:prstGeom prst="rect">
            <a:avLst/>
          </a:prstGeom>
        </p:spPr>
        <p:txBody>
          <a:bodyPr vert="horz" lIns="121907" tIns="60953" rIns="121907" bIns="60953" rtlCol="0">
            <a:normAutofit/>
          </a:bodyPr>
          <a:lstStyle>
            <a:lvl1pPr marL="342861" indent="-342861" algn="l" defTabSz="457148" rtl="0" eaLnBrk="1" latinLnBrk="0" hangingPunct="1">
              <a:spcBef>
                <a:spcPct val="20000"/>
              </a:spcBef>
              <a:buFont typeface="Arial"/>
              <a:buChar char="•"/>
              <a:defRPr sz="1000" kern="1200">
                <a:solidFill>
                  <a:schemeClr val="tx2"/>
                </a:solidFill>
                <a:latin typeface="Roboto Light"/>
                <a:ea typeface="+mn-ea"/>
                <a:cs typeface="Roboto Light"/>
              </a:defRPr>
            </a:lvl1pPr>
            <a:lvl2pPr marL="742865" indent="-285717" algn="l" defTabSz="457148" rtl="0" eaLnBrk="1" latinLnBrk="0" hangingPunct="1">
              <a:spcBef>
                <a:spcPct val="20000"/>
              </a:spcBef>
              <a:buFont typeface="Arial"/>
              <a:buChar char="–"/>
              <a:defRPr sz="1000" kern="1200">
                <a:solidFill>
                  <a:schemeClr val="tx2"/>
                </a:solidFill>
                <a:latin typeface="Roboto Light"/>
                <a:ea typeface="+mn-ea"/>
                <a:cs typeface="Roboto Light"/>
              </a:defRPr>
            </a:lvl2pPr>
            <a:lvl3pPr marL="1142870" indent="-228574" algn="l" defTabSz="457148" rtl="0" eaLnBrk="1" latinLnBrk="0" hangingPunct="1">
              <a:spcBef>
                <a:spcPct val="20000"/>
              </a:spcBef>
              <a:buFont typeface="Arial"/>
              <a:buChar char="•"/>
              <a:defRPr sz="1000" kern="1200">
                <a:solidFill>
                  <a:schemeClr val="tx2"/>
                </a:solidFill>
                <a:latin typeface="Roboto Light"/>
                <a:ea typeface="+mn-ea"/>
                <a:cs typeface="Roboto Light"/>
              </a:defRPr>
            </a:lvl3pPr>
            <a:lvl4pPr marL="1600018" indent="-228574" algn="l" defTabSz="457148" rtl="0" eaLnBrk="1" latinLnBrk="0" hangingPunct="1">
              <a:spcBef>
                <a:spcPct val="20000"/>
              </a:spcBef>
              <a:buFont typeface="Arial"/>
              <a:buChar char="–"/>
              <a:defRPr sz="1000" kern="1200">
                <a:solidFill>
                  <a:schemeClr val="tx2"/>
                </a:solidFill>
                <a:latin typeface="Roboto Light"/>
                <a:ea typeface="+mn-ea"/>
                <a:cs typeface="Roboto Light"/>
              </a:defRPr>
            </a:lvl4pPr>
            <a:lvl5pPr marL="2057166" indent="-228574" algn="l" defTabSz="457148" rtl="0" eaLnBrk="1" latinLnBrk="0" hangingPunct="1">
              <a:spcBef>
                <a:spcPct val="20000"/>
              </a:spcBef>
              <a:buFont typeface="Arial"/>
              <a:buChar char="»"/>
              <a:defRPr sz="1000" kern="1200">
                <a:solidFill>
                  <a:schemeClr val="tx2"/>
                </a:solidFill>
                <a:latin typeface="Roboto Light"/>
                <a:ea typeface="+mn-ea"/>
                <a:cs typeface="Roboto Light"/>
              </a:defRPr>
            </a:lvl5pPr>
            <a:lvl6pPr marL="2514314" indent="-228574" algn="l" defTabSz="457148" rtl="0" eaLnBrk="1" latinLnBrk="0" hangingPunct="1">
              <a:spcBef>
                <a:spcPct val="20000"/>
              </a:spcBef>
              <a:buFont typeface="Arial"/>
              <a:buChar char="•"/>
              <a:defRPr sz="2000" kern="1200">
                <a:solidFill>
                  <a:schemeClr val="tx1"/>
                </a:solidFill>
                <a:latin typeface="+mn-lt"/>
                <a:ea typeface="+mn-ea"/>
                <a:cs typeface="+mn-cs"/>
              </a:defRPr>
            </a:lvl6pPr>
            <a:lvl7pPr marL="2971462" indent="-228574" algn="l" defTabSz="457148" rtl="0" eaLnBrk="1" latinLnBrk="0" hangingPunct="1">
              <a:spcBef>
                <a:spcPct val="20000"/>
              </a:spcBef>
              <a:buFont typeface="Arial"/>
              <a:buChar char="•"/>
              <a:defRPr sz="2000" kern="1200">
                <a:solidFill>
                  <a:schemeClr val="tx1"/>
                </a:solidFill>
                <a:latin typeface="+mn-lt"/>
                <a:ea typeface="+mn-ea"/>
                <a:cs typeface="+mn-cs"/>
              </a:defRPr>
            </a:lvl7pPr>
            <a:lvl8pPr marL="3428610" indent="-228574" algn="l" defTabSz="457148" rtl="0" eaLnBrk="1" latinLnBrk="0" hangingPunct="1">
              <a:spcBef>
                <a:spcPct val="20000"/>
              </a:spcBef>
              <a:buFont typeface="Arial"/>
              <a:buChar char="•"/>
              <a:defRPr sz="2000" kern="1200">
                <a:solidFill>
                  <a:schemeClr val="tx1"/>
                </a:solidFill>
                <a:latin typeface="+mn-lt"/>
                <a:ea typeface="+mn-ea"/>
                <a:cs typeface="+mn-cs"/>
              </a:defRPr>
            </a:lvl8pPr>
            <a:lvl9pPr marL="3885758" indent="-228574" algn="l" defTabSz="457148"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600" dirty="0">
                <a:solidFill>
                  <a:schemeClr val="bg1">
                    <a:lumMod val="25000"/>
                  </a:schemeClr>
                </a:solidFill>
                <a:latin typeface="Roboto" panose="02000000000000000000" pitchFamily="2" charset="0"/>
                <a:ea typeface="Roboto" panose="02000000000000000000" pitchFamily="2" charset="0"/>
              </a:rPr>
              <a:t>New Label</a:t>
            </a:r>
          </a:p>
        </p:txBody>
      </p:sp>
    </p:spTree>
    <p:extLst>
      <p:ext uri="{BB962C8B-B14F-4D97-AF65-F5344CB8AC3E}">
        <p14:creationId xmlns:p14="http://schemas.microsoft.com/office/powerpoint/2010/main" val="19601613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half" idx="1"/>
          </p:nvPr>
        </p:nvSpPr>
        <p:spPr>
          <a:xfrm>
            <a:off x="1118326" y="5127471"/>
            <a:ext cx="10602237" cy="751695"/>
          </a:xfrm>
        </p:spPr>
        <p:txBody>
          <a:bodyPr vert="horz" lIns="0" tIns="0" rIns="0" bIns="0" rtlCol="0" anchor="b">
            <a:normAutofit/>
          </a:bodyPr>
          <a:lstStyle/>
          <a:p>
            <a:pPr lvl="1">
              <a:buSzPct val="100000"/>
            </a:pPr>
            <a:r>
              <a:rPr lang="en-US" dirty="0">
                <a:solidFill>
                  <a:srgbClr val="4E5255"/>
                </a:solidFill>
                <a:latin typeface="Arial Nova" panose="020B0504020202020204" pitchFamily="34" charset="0"/>
              </a:rPr>
              <a:t>According to Information Resources, Inc., 43% of U.S. consumers place taste above health benefits </a:t>
            </a:r>
            <a:br>
              <a:rPr lang="en-US" dirty="0">
                <a:solidFill>
                  <a:srgbClr val="4E5255"/>
                </a:solidFill>
                <a:latin typeface="Arial Nova" panose="020B0504020202020204" pitchFamily="34" charset="0"/>
              </a:rPr>
            </a:br>
            <a:r>
              <a:rPr lang="en-US" dirty="0">
                <a:solidFill>
                  <a:srgbClr val="4E5255"/>
                </a:solidFill>
                <a:latin typeface="Arial Nova" panose="020B0504020202020204" pitchFamily="34" charset="0"/>
              </a:rPr>
              <a:t>in their food purchasing decisions.</a:t>
            </a:r>
          </a:p>
        </p:txBody>
      </p:sp>
      <p:sp>
        <p:nvSpPr>
          <p:cNvPr id="6" name="Title 5"/>
          <p:cNvSpPr>
            <a:spLocks noGrp="1"/>
          </p:cNvSpPr>
          <p:nvPr>
            <p:ph type="title"/>
          </p:nvPr>
        </p:nvSpPr>
        <p:spPr/>
        <p:txBody>
          <a:bodyPr>
            <a:normAutofit fontScale="90000"/>
          </a:bodyPr>
          <a:lstStyle/>
          <a:p>
            <a:r>
              <a:rPr lang="en-US" dirty="0"/>
              <a:t>Sugar deliveries by category</a:t>
            </a:r>
            <a:endParaRPr lang="en-US" dirty="0">
              <a:solidFill>
                <a:schemeClr val="tx1"/>
              </a:solidFill>
              <a:latin typeface="Roboto Light" panose="02000000000000000000" pitchFamily="2" charset="0"/>
              <a:ea typeface="Roboto Light" panose="02000000000000000000" pitchFamily="2" charset="0"/>
            </a:endParaRPr>
          </a:p>
        </p:txBody>
      </p:sp>
      <p:sp>
        <p:nvSpPr>
          <p:cNvPr id="2" name="Content Placeholder 1"/>
          <p:cNvSpPr>
            <a:spLocks noGrp="1"/>
          </p:cNvSpPr>
          <p:nvPr>
            <p:ph sz="quarter" idx="11"/>
          </p:nvPr>
        </p:nvSpPr>
        <p:spPr/>
        <p:txBody>
          <a:bodyPr>
            <a:normAutofit/>
          </a:bodyPr>
          <a:lstStyle/>
          <a:p>
            <a:endParaRPr lang="en-US" dirty="0"/>
          </a:p>
        </p:txBody>
      </p:sp>
      <p:graphicFrame>
        <p:nvGraphicFramePr>
          <p:cNvPr id="5" name="Object 4">
            <a:extLst>
              <a:ext uri="{FF2B5EF4-FFF2-40B4-BE49-F238E27FC236}">
                <a16:creationId xmlns:a16="http://schemas.microsoft.com/office/drawing/2014/main" id="{749D6084-0E31-4E71-A8ED-01D2C49ADF4E}"/>
              </a:ext>
            </a:extLst>
          </p:cNvPr>
          <p:cNvGraphicFramePr>
            <a:graphicFrameLocks noChangeAspect="1"/>
          </p:cNvGraphicFramePr>
          <p:nvPr>
            <p:extLst>
              <p:ext uri="{D42A27DB-BD31-4B8C-83A1-F6EECF244321}">
                <p14:modId xmlns:p14="http://schemas.microsoft.com/office/powerpoint/2010/main" val="3114151461"/>
              </p:ext>
            </p:extLst>
          </p:nvPr>
        </p:nvGraphicFramePr>
        <p:xfrm>
          <a:off x="1817688" y="747123"/>
          <a:ext cx="8110083" cy="4255060"/>
        </p:xfrm>
        <a:graphic>
          <a:graphicData uri="http://schemas.openxmlformats.org/presentationml/2006/ole">
            <mc:AlternateContent xmlns:mc="http://schemas.openxmlformats.org/markup-compatibility/2006">
              <mc:Choice xmlns:v="urn:schemas-microsoft-com:vml" Requires="v">
                <p:oleObj spid="_x0000_s19500" name="Worksheet" r:id="rId4" imgW="6981713" imgH="3838511" progId="Excel.Sheet.12">
                  <p:link updateAutomatic="1"/>
                </p:oleObj>
              </mc:Choice>
              <mc:Fallback>
                <p:oleObj name="Worksheet" r:id="rId4" imgW="6981713" imgH="3838511" progId="Excel.Sheet.12">
                  <p:link updateAutomatic="1"/>
                  <p:pic>
                    <p:nvPicPr>
                      <p:cNvPr id="5" name="Object 4">
                        <a:extLst>
                          <a:ext uri="{FF2B5EF4-FFF2-40B4-BE49-F238E27FC236}">
                            <a16:creationId xmlns:a16="http://schemas.microsoft.com/office/drawing/2014/main" id="{749D6084-0E31-4E71-A8ED-01D2C49ADF4E}"/>
                          </a:ext>
                        </a:extLst>
                      </p:cNvPr>
                      <p:cNvPicPr/>
                      <p:nvPr/>
                    </p:nvPicPr>
                    <p:blipFill>
                      <a:blip r:embed="rId5"/>
                      <a:stretch>
                        <a:fillRect/>
                      </a:stretch>
                    </p:blipFill>
                    <p:spPr>
                      <a:xfrm>
                        <a:off x="1817688" y="747123"/>
                        <a:ext cx="8110083" cy="4255060"/>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5361DE1-A3B7-4D07-9C92-A91794FF8EF9}"/>
              </a:ext>
            </a:extLst>
          </p:cNvPr>
          <p:cNvSpPr/>
          <p:nvPr/>
        </p:nvSpPr>
        <p:spPr>
          <a:xfrm>
            <a:off x="8937072" y="4975987"/>
            <a:ext cx="1800837" cy="250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1799EAE5-8696-4687-8A38-4CB4B8D7981C}"/>
              </a:ext>
            </a:extLst>
          </p:cNvPr>
          <p:cNvSpPr/>
          <p:nvPr/>
        </p:nvSpPr>
        <p:spPr>
          <a:xfrm>
            <a:off x="8964939" y="4831867"/>
            <a:ext cx="1207008" cy="4023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5195849"/>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a:solidFill>
                  <a:schemeClr val="tx1"/>
                </a:solidFill>
                <a:latin typeface="Roboto Light" panose="02000000000000000000" pitchFamily="2" charset="0"/>
                <a:ea typeface="Roboto Light" panose="02000000000000000000" pitchFamily="2" charset="0"/>
              </a:rPr>
              <a:t>Sugar deliveries to the beverage industry</a:t>
            </a:r>
          </a:p>
        </p:txBody>
      </p:sp>
      <p:sp>
        <p:nvSpPr>
          <p:cNvPr id="8" name="Content Placeholder 7"/>
          <p:cNvSpPr>
            <a:spLocks noGrp="1"/>
          </p:cNvSpPr>
          <p:nvPr>
            <p:ph sz="quarter" idx="11"/>
          </p:nvPr>
        </p:nvSpPr>
        <p:spPr/>
        <p:txBody>
          <a:bodyPr>
            <a:normAutofit/>
          </a:bodyPr>
          <a:lstStyle/>
          <a:p>
            <a:r>
              <a:rPr lang="en-US" dirty="0">
                <a:latin typeface="Arial Nova" panose="020B0504020202020204" pitchFamily="34" charset="0"/>
              </a:rPr>
              <a:t>Source: FSA</a:t>
            </a:r>
          </a:p>
        </p:txBody>
      </p:sp>
      <p:graphicFrame>
        <p:nvGraphicFramePr>
          <p:cNvPr id="2" name="Object 1">
            <a:extLst>
              <a:ext uri="{FF2B5EF4-FFF2-40B4-BE49-F238E27FC236}">
                <a16:creationId xmlns:a16="http://schemas.microsoft.com/office/drawing/2014/main" id="{A73C549F-A40A-4455-9DE2-B4DE125C4F2F}"/>
              </a:ext>
            </a:extLst>
          </p:cNvPr>
          <p:cNvGraphicFramePr>
            <a:graphicFrameLocks noChangeAspect="1"/>
          </p:cNvGraphicFramePr>
          <p:nvPr/>
        </p:nvGraphicFramePr>
        <p:xfrm>
          <a:off x="1835151" y="994834"/>
          <a:ext cx="8523816" cy="4866217"/>
        </p:xfrm>
        <a:graphic>
          <a:graphicData uri="http://schemas.openxmlformats.org/presentationml/2006/ole">
            <mc:AlternateContent xmlns:mc="http://schemas.openxmlformats.org/markup-compatibility/2006">
              <mc:Choice xmlns:v="urn:schemas-microsoft-com:vml" Requires="v">
                <p:oleObj spid="_x0000_s13358" name="Worksheet" r:id="rId4" imgW="6393111" imgH="3650087" progId="Excel.Sheet.12">
                  <p:link updateAutomatic="1"/>
                </p:oleObj>
              </mc:Choice>
              <mc:Fallback>
                <p:oleObj name="Worksheet" r:id="rId4" imgW="6393111" imgH="3650087" progId="Excel.Sheet.12">
                  <p:link updateAutomatic="1"/>
                  <p:pic>
                    <p:nvPicPr>
                      <p:cNvPr id="2" name="Object 1">
                        <a:extLst>
                          <a:ext uri="{FF2B5EF4-FFF2-40B4-BE49-F238E27FC236}">
                            <a16:creationId xmlns:a16="http://schemas.microsoft.com/office/drawing/2014/main" id="{A73C549F-A40A-4455-9DE2-B4DE125C4F2F}"/>
                          </a:ext>
                        </a:extLst>
                      </p:cNvPr>
                      <p:cNvPicPr/>
                      <p:nvPr/>
                    </p:nvPicPr>
                    <p:blipFill>
                      <a:blip r:embed="rId5"/>
                      <a:stretch>
                        <a:fillRect/>
                      </a:stretch>
                    </p:blipFill>
                    <p:spPr>
                      <a:xfrm>
                        <a:off x="1835151" y="994834"/>
                        <a:ext cx="8523816" cy="486621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385852B-2F01-4355-8A22-F0E2AAD2CB4E}"/>
              </a:ext>
            </a:extLst>
          </p:cNvPr>
          <p:cNvSpPr/>
          <p:nvPr/>
        </p:nvSpPr>
        <p:spPr>
          <a:xfrm>
            <a:off x="8914702" y="5721990"/>
            <a:ext cx="1800837" cy="250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301077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a:solidFill>
                  <a:schemeClr val="tx1"/>
                </a:solidFill>
                <a:latin typeface="Roboto Light" panose="02000000000000000000" pitchFamily="2" charset="0"/>
                <a:ea typeface="Roboto Light" panose="02000000000000000000" pitchFamily="2" charset="0"/>
              </a:rPr>
              <a:t>Sugar deliveries to the confectionery industry</a:t>
            </a:r>
          </a:p>
        </p:txBody>
      </p:sp>
      <p:sp>
        <p:nvSpPr>
          <p:cNvPr id="8" name="Content Placeholder 7"/>
          <p:cNvSpPr>
            <a:spLocks noGrp="1"/>
          </p:cNvSpPr>
          <p:nvPr>
            <p:ph sz="quarter" idx="11"/>
          </p:nvPr>
        </p:nvSpPr>
        <p:spPr/>
        <p:txBody>
          <a:bodyPr>
            <a:normAutofit/>
          </a:bodyPr>
          <a:lstStyle/>
          <a:p>
            <a:r>
              <a:rPr lang="en-US" dirty="0">
                <a:latin typeface="Arial Nova" panose="020B0504020202020204" pitchFamily="34" charset="0"/>
              </a:rPr>
              <a:t>Source: FSA</a:t>
            </a:r>
          </a:p>
        </p:txBody>
      </p:sp>
      <p:graphicFrame>
        <p:nvGraphicFramePr>
          <p:cNvPr id="2" name="Object 1">
            <a:extLst>
              <a:ext uri="{FF2B5EF4-FFF2-40B4-BE49-F238E27FC236}">
                <a16:creationId xmlns:a16="http://schemas.microsoft.com/office/drawing/2014/main" id="{034FA706-F0DB-47B9-A679-03EA7BAAB5F9}"/>
              </a:ext>
            </a:extLst>
          </p:cNvPr>
          <p:cNvGraphicFramePr>
            <a:graphicFrameLocks noChangeAspect="1"/>
          </p:cNvGraphicFramePr>
          <p:nvPr/>
        </p:nvGraphicFramePr>
        <p:xfrm>
          <a:off x="1835151" y="994834"/>
          <a:ext cx="8523816" cy="4866217"/>
        </p:xfrm>
        <a:graphic>
          <a:graphicData uri="http://schemas.openxmlformats.org/presentationml/2006/ole">
            <mc:AlternateContent xmlns:mc="http://schemas.openxmlformats.org/markup-compatibility/2006">
              <mc:Choice xmlns:v="urn:schemas-microsoft-com:vml" Requires="v">
                <p:oleObj spid="_x0000_s14382" name="Worksheet" r:id="rId4" imgW="6393111" imgH="3650087" progId="Excel.Sheet.12">
                  <p:link updateAutomatic="1"/>
                </p:oleObj>
              </mc:Choice>
              <mc:Fallback>
                <p:oleObj name="Worksheet" r:id="rId4" imgW="6393111" imgH="3650087" progId="Excel.Sheet.12">
                  <p:link updateAutomatic="1"/>
                  <p:pic>
                    <p:nvPicPr>
                      <p:cNvPr id="2" name="Object 1">
                        <a:extLst>
                          <a:ext uri="{FF2B5EF4-FFF2-40B4-BE49-F238E27FC236}">
                            <a16:creationId xmlns:a16="http://schemas.microsoft.com/office/drawing/2014/main" id="{034FA706-F0DB-47B9-A679-03EA7BAAB5F9}"/>
                          </a:ext>
                        </a:extLst>
                      </p:cNvPr>
                      <p:cNvPicPr/>
                      <p:nvPr/>
                    </p:nvPicPr>
                    <p:blipFill>
                      <a:blip r:embed="rId5"/>
                      <a:stretch>
                        <a:fillRect/>
                      </a:stretch>
                    </p:blipFill>
                    <p:spPr>
                      <a:xfrm>
                        <a:off x="1835151" y="994834"/>
                        <a:ext cx="8523816" cy="486621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C0EA3872-6A08-4C2E-9390-55FB4241A174}"/>
              </a:ext>
            </a:extLst>
          </p:cNvPr>
          <p:cNvSpPr/>
          <p:nvPr/>
        </p:nvSpPr>
        <p:spPr>
          <a:xfrm>
            <a:off x="8914702" y="5733175"/>
            <a:ext cx="1800837" cy="250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7942800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id="{38376F53-D8A3-43E2-9C84-E656120D8ECD}"/>
              </a:ext>
            </a:extLst>
          </p:cNvPr>
          <p:cNvGraphicFramePr>
            <a:graphicFrameLocks noGrp="1" noChangeAspect="1"/>
          </p:cNvGraphicFramePr>
          <p:nvPr>
            <p:ph sz="half" idx="13"/>
            <p:extLst>
              <p:ext uri="{D42A27DB-BD31-4B8C-83A1-F6EECF244321}">
                <p14:modId xmlns:p14="http://schemas.microsoft.com/office/powerpoint/2010/main" val="2771831681"/>
              </p:ext>
            </p:extLst>
          </p:nvPr>
        </p:nvGraphicFramePr>
        <p:xfrm>
          <a:off x="6096000" y="1182030"/>
          <a:ext cx="5880480" cy="3356516"/>
        </p:xfrm>
        <a:graphic>
          <a:graphicData uri="http://schemas.openxmlformats.org/presentationml/2006/ole">
            <mc:AlternateContent xmlns:mc="http://schemas.openxmlformats.org/markup-compatibility/2006">
              <mc:Choice xmlns:v="urn:schemas-microsoft-com:vml" Requires="v">
                <p:oleObj spid="_x0000_s23606" name="Worksheet" r:id="rId3" imgW="6391099" imgH="3647928" progId="Excel.Sheet.12">
                  <p:link updateAutomatic="1"/>
                </p:oleObj>
              </mc:Choice>
              <mc:Fallback>
                <p:oleObj name="Worksheet" r:id="rId3" imgW="6391099" imgH="3647928" progId="Excel.Sheet.12">
                  <p:link updateAutomatic="1"/>
                  <p:pic>
                    <p:nvPicPr>
                      <p:cNvPr id="10" name="Object 9">
                        <a:extLst>
                          <a:ext uri="{FF2B5EF4-FFF2-40B4-BE49-F238E27FC236}">
                            <a16:creationId xmlns:a16="http://schemas.microsoft.com/office/drawing/2014/main" id="{445ECEF7-76C9-4B87-A034-41C3D0DE0892}"/>
                          </a:ext>
                        </a:extLst>
                      </p:cNvPr>
                      <p:cNvPicPr/>
                      <p:nvPr/>
                    </p:nvPicPr>
                    <p:blipFill>
                      <a:blip r:embed="rId4"/>
                      <a:stretch>
                        <a:fillRect/>
                      </a:stretch>
                    </p:blipFill>
                    <p:spPr>
                      <a:xfrm>
                        <a:off x="6096000" y="1182030"/>
                        <a:ext cx="5880480" cy="3356516"/>
                      </a:xfrm>
                      <a:prstGeom prst="rect">
                        <a:avLst/>
                      </a:prstGeom>
                    </p:spPr>
                  </p:pic>
                </p:oleObj>
              </mc:Fallback>
            </mc:AlternateContent>
          </a:graphicData>
        </a:graphic>
      </p:graphicFrame>
      <p:graphicFrame>
        <p:nvGraphicFramePr>
          <p:cNvPr id="9" name="Content Placeholder 8">
            <a:extLst>
              <a:ext uri="{FF2B5EF4-FFF2-40B4-BE49-F238E27FC236}">
                <a16:creationId xmlns:a16="http://schemas.microsoft.com/office/drawing/2014/main" id="{12C6C556-0455-4CAD-8CC5-09A68B99D81C}"/>
              </a:ext>
            </a:extLst>
          </p:cNvPr>
          <p:cNvGraphicFramePr>
            <a:graphicFrameLocks noGrp="1" noChangeAspect="1"/>
          </p:cNvGraphicFramePr>
          <p:nvPr>
            <p:ph sz="half" idx="1"/>
            <p:extLst>
              <p:ext uri="{D42A27DB-BD31-4B8C-83A1-F6EECF244321}">
                <p14:modId xmlns:p14="http://schemas.microsoft.com/office/powerpoint/2010/main" val="2597746040"/>
              </p:ext>
            </p:extLst>
          </p:nvPr>
        </p:nvGraphicFramePr>
        <p:xfrm>
          <a:off x="259811" y="1158906"/>
          <a:ext cx="5966407" cy="3405563"/>
        </p:xfrm>
        <a:graphic>
          <a:graphicData uri="http://schemas.openxmlformats.org/presentationml/2006/ole">
            <mc:AlternateContent xmlns:mc="http://schemas.openxmlformats.org/markup-compatibility/2006">
              <mc:Choice xmlns:v="urn:schemas-microsoft-com:vml" Requires="v">
                <p:oleObj spid="_x0000_s23607" name="Worksheet" r:id="rId5" imgW="6391099" imgH="3647928" progId="Excel.Sheet.12">
                  <p:link updateAutomatic="1"/>
                </p:oleObj>
              </mc:Choice>
              <mc:Fallback>
                <p:oleObj name="Worksheet" r:id="rId5" imgW="6391099" imgH="3647928" progId="Excel.Sheet.12">
                  <p:link updateAutomatic="1"/>
                  <p:pic>
                    <p:nvPicPr>
                      <p:cNvPr id="8" name="Object 7">
                        <a:extLst>
                          <a:ext uri="{FF2B5EF4-FFF2-40B4-BE49-F238E27FC236}">
                            <a16:creationId xmlns:a16="http://schemas.microsoft.com/office/drawing/2014/main" id="{4280CAEA-AACA-480C-AD69-509B17D147EF}"/>
                          </a:ext>
                        </a:extLst>
                      </p:cNvPr>
                      <p:cNvPicPr/>
                      <p:nvPr/>
                    </p:nvPicPr>
                    <p:blipFill>
                      <a:blip r:embed="rId6"/>
                      <a:stretch>
                        <a:fillRect/>
                      </a:stretch>
                    </p:blipFill>
                    <p:spPr>
                      <a:xfrm>
                        <a:off x="259811" y="1158906"/>
                        <a:ext cx="5966407" cy="3405563"/>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7F14481-649A-4E47-B565-4CFA8E468AEF}"/>
              </a:ext>
            </a:extLst>
          </p:cNvPr>
          <p:cNvSpPr>
            <a:spLocks noGrp="1"/>
          </p:cNvSpPr>
          <p:nvPr>
            <p:ph type="title"/>
          </p:nvPr>
        </p:nvSpPr>
        <p:spPr/>
        <p:txBody>
          <a:bodyPr>
            <a:normAutofit fontScale="90000"/>
          </a:bodyPr>
          <a:lstStyle/>
          <a:p>
            <a:r>
              <a:rPr lang="en-US" dirty="0"/>
              <a:t>Confectionery industry, sales by volume</a:t>
            </a:r>
          </a:p>
        </p:txBody>
      </p:sp>
      <p:sp>
        <p:nvSpPr>
          <p:cNvPr id="19" name="Content Placeholder 18">
            <a:extLst>
              <a:ext uri="{FF2B5EF4-FFF2-40B4-BE49-F238E27FC236}">
                <a16:creationId xmlns:a16="http://schemas.microsoft.com/office/drawing/2014/main" id="{C12FD901-D0B7-4B30-B5D5-EA3019F1413F}"/>
              </a:ext>
            </a:extLst>
          </p:cNvPr>
          <p:cNvSpPr>
            <a:spLocks noGrp="1"/>
          </p:cNvSpPr>
          <p:nvPr>
            <p:ph sz="quarter" idx="11"/>
          </p:nvPr>
        </p:nvSpPr>
        <p:spPr/>
        <p:txBody>
          <a:bodyPr/>
          <a:lstStyle/>
          <a:p>
            <a:endParaRPr lang="en-US"/>
          </a:p>
        </p:txBody>
      </p:sp>
      <p:sp>
        <p:nvSpPr>
          <p:cNvPr id="6" name="Rectangle 5">
            <a:extLst>
              <a:ext uri="{FF2B5EF4-FFF2-40B4-BE49-F238E27FC236}">
                <a16:creationId xmlns:a16="http://schemas.microsoft.com/office/drawing/2014/main" id="{9EC94F9A-532D-424D-85A8-EB826A8141D8}"/>
              </a:ext>
            </a:extLst>
          </p:cNvPr>
          <p:cNvSpPr/>
          <p:nvPr/>
        </p:nvSpPr>
        <p:spPr>
          <a:xfrm>
            <a:off x="5266944" y="4376263"/>
            <a:ext cx="1207008" cy="4023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39B9C2C-EDCA-4538-BA48-120C94189405}"/>
              </a:ext>
            </a:extLst>
          </p:cNvPr>
          <p:cNvSpPr/>
          <p:nvPr/>
        </p:nvSpPr>
        <p:spPr>
          <a:xfrm>
            <a:off x="10932330" y="4256237"/>
            <a:ext cx="1207008" cy="4023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071162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a:solidFill>
                  <a:schemeClr val="tx1"/>
                </a:solidFill>
                <a:latin typeface="Roboto Light" panose="02000000000000000000" pitchFamily="2" charset="0"/>
                <a:ea typeface="Roboto Light" panose="02000000000000000000" pitchFamily="2" charset="0"/>
              </a:rPr>
              <a:t>Sugar deliveries to the ice cream &amp; dairy industry</a:t>
            </a:r>
          </a:p>
        </p:txBody>
      </p:sp>
      <p:sp>
        <p:nvSpPr>
          <p:cNvPr id="8" name="Content Placeholder 7"/>
          <p:cNvSpPr>
            <a:spLocks noGrp="1"/>
          </p:cNvSpPr>
          <p:nvPr>
            <p:ph sz="quarter" idx="11"/>
          </p:nvPr>
        </p:nvSpPr>
        <p:spPr/>
        <p:txBody>
          <a:bodyPr>
            <a:normAutofit/>
          </a:bodyPr>
          <a:lstStyle/>
          <a:p>
            <a:r>
              <a:rPr lang="en-US" dirty="0">
                <a:latin typeface="Arial Nova" panose="020B0504020202020204" pitchFamily="34" charset="0"/>
              </a:rPr>
              <a:t>Source: FSA</a:t>
            </a:r>
          </a:p>
        </p:txBody>
      </p:sp>
      <p:graphicFrame>
        <p:nvGraphicFramePr>
          <p:cNvPr id="2" name="Object 1">
            <a:extLst>
              <a:ext uri="{FF2B5EF4-FFF2-40B4-BE49-F238E27FC236}">
                <a16:creationId xmlns:a16="http://schemas.microsoft.com/office/drawing/2014/main" id="{2D94C8D8-0202-4CF8-89F2-FCF8AAF7EC47}"/>
              </a:ext>
            </a:extLst>
          </p:cNvPr>
          <p:cNvGraphicFramePr>
            <a:graphicFrameLocks noChangeAspect="1"/>
          </p:cNvGraphicFramePr>
          <p:nvPr/>
        </p:nvGraphicFramePr>
        <p:xfrm>
          <a:off x="1835151" y="994834"/>
          <a:ext cx="8523816" cy="4866217"/>
        </p:xfrm>
        <a:graphic>
          <a:graphicData uri="http://schemas.openxmlformats.org/presentationml/2006/ole">
            <mc:AlternateContent xmlns:mc="http://schemas.openxmlformats.org/markup-compatibility/2006">
              <mc:Choice xmlns:v="urn:schemas-microsoft-com:vml" Requires="v">
                <p:oleObj spid="_x0000_s15406" name="Worksheet" r:id="rId4" imgW="6393111" imgH="3650087" progId="Excel.Sheet.12">
                  <p:link updateAutomatic="1"/>
                </p:oleObj>
              </mc:Choice>
              <mc:Fallback>
                <p:oleObj name="Worksheet" r:id="rId4" imgW="6393111" imgH="3650087" progId="Excel.Sheet.12">
                  <p:link updateAutomatic="1"/>
                  <p:pic>
                    <p:nvPicPr>
                      <p:cNvPr id="2" name="Object 1">
                        <a:extLst>
                          <a:ext uri="{FF2B5EF4-FFF2-40B4-BE49-F238E27FC236}">
                            <a16:creationId xmlns:a16="http://schemas.microsoft.com/office/drawing/2014/main" id="{2D94C8D8-0202-4CF8-89F2-FCF8AAF7EC47}"/>
                          </a:ext>
                        </a:extLst>
                      </p:cNvPr>
                      <p:cNvPicPr/>
                      <p:nvPr/>
                    </p:nvPicPr>
                    <p:blipFill>
                      <a:blip r:embed="rId5"/>
                      <a:stretch>
                        <a:fillRect/>
                      </a:stretch>
                    </p:blipFill>
                    <p:spPr>
                      <a:xfrm>
                        <a:off x="1835151" y="994834"/>
                        <a:ext cx="8523816" cy="486621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52E78D7-24A0-4FC0-93CA-FD45829E0688}"/>
              </a:ext>
            </a:extLst>
          </p:cNvPr>
          <p:cNvSpPr/>
          <p:nvPr/>
        </p:nvSpPr>
        <p:spPr>
          <a:xfrm>
            <a:off x="8914702" y="5733175"/>
            <a:ext cx="1800837" cy="250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3943510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F1E37-C38C-4D3A-9039-312836D9442C}"/>
              </a:ext>
            </a:extLst>
          </p:cNvPr>
          <p:cNvSpPr>
            <a:spLocks noGrp="1"/>
          </p:cNvSpPr>
          <p:nvPr>
            <p:ph type="title"/>
          </p:nvPr>
        </p:nvSpPr>
        <p:spPr/>
        <p:txBody>
          <a:bodyPr>
            <a:normAutofit fontScale="90000"/>
          </a:bodyPr>
          <a:lstStyle/>
          <a:p>
            <a:r>
              <a:rPr lang="en-US" dirty="0"/>
              <a:t>Dairy manufacturing volumes, select products</a:t>
            </a:r>
          </a:p>
        </p:txBody>
      </p:sp>
      <p:sp>
        <p:nvSpPr>
          <p:cNvPr id="3" name="Content Placeholder 2">
            <a:extLst>
              <a:ext uri="{FF2B5EF4-FFF2-40B4-BE49-F238E27FC236}">
                <a16:creationId xmlns:a16="http://schemas.microsoft.com/office/drawing/2014/main" id="{8EAE25E0-102A-40F1-9225-5C7695E1D013}"/>
              </a:ext>
            </a:extLst>
          </p:cNvPr>
          <p:cNvSpPr>
            <a:spLocks noGrp="1"/>
          </p:cNvSpPr>
          <p:nvPr>
            <p:ph sz="quarter" idx="11"/>
          </p:nvPr>
        </p:nvSpPr>
        <p:spPr/>
        <p:txBody>
          <a:bodyPr/>
          <a:lstStyle/>
          <a:p>
            <a:endParaRPr lang="en-US"/>
          </a:p>
        </p:txBody>
      </p:sp>
      <p:graphicFrame>
        <p:nvGraphicFramePr>
          <p:cNvPr id="4" name="Object 3">
            <a:extLst>
              <a:ext uri="{FF2B5EF4-FFF2-40B4-BE49-F238E27FC236}">
                <a16:creationId xmlns:a16="http://schemas.microsoft.com/office/drawing/2014/main" id="{4D9B0E28-DACF-4DEE-9D12-CF489B27EC83}"/>
              </a:ext>
            </a:extLst>
          </p:cNvPr>
          <p:cNvGraphicFramePr>
            <a:graphicFrameLocks noChangeAspect="1"/>
          </p:cNvGraphicFramePr>
          <p:nvPr>
            <p:extLst>
              <p:ext uri="{D42A27DB-BD31-4B8C-83A1-F6EECF244321}">
                <p14:modId xmlns:p14="http://schemas.microsoft.com/office/powerpoint/2010/main" val="4177681524"/>
              </p:ext>
            </p:extLst>
          </p:nvPr>
        </p:nvGraphicFramePr>
        <p:xfrm>
          <a:off x="1537015" y="825191"/>
          <a:ext cx="9117972" cy="5204444"/>
        </p:xfrm>
        <a:graphic>
          <a:graphicData uri="http://schemas.openxmlformats.org/presentationml/2006/ole">
            <mc:AlternateContent xmlns:mc="http://schemas.openxmlformats.org/markup-compatibility/2006">
              <mc:Choice xmlns:v="urn:schemas-microsoft-com:vml" Requires="v">
                <p:oleObj spid="_x0000_s26645" name="Worksheet" r:id="rId3" imgW="6391099" imgH="3647928" progId="Excel.Sheet.12">
                  <p:link updateAutomatic="1"/>
                </p:oleObj>
              </mc:Choice>
              <mc:Fallback>
                <p:oleObj name="Worksheet" r:id="rId3" imgW="6391099" imgH="3647928" progId="Excel.Sheet.12">
                  <p:link updateAutomatic="1"/>
                  <p:pic>
                    <p:nvPicPr>
                      <p:cNvPr id="0" name=""/>
                      <p:cNvPicPr/>
                      <p:nvPr/>
                    </p:nvPicPr>
                    <p:blipFill>
                      <a:blip r:embed="rId4"/>
                      <a:stretch>
                        <a:fillRect/>
                      </a:stretch>
                    </p:blipFill>
                    <p:spPr>
                      <a:xfrm>
                        <a:off x="1537015" y="825191"/>
                        <a:ext cx="9117972" cy="5204444"/>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CFE67D87-CB75-4009-A746-2CB39BEA3B23}"/>
              </a:ext>
            </a:extLst>
          </p:cNvPr>
          <p:cNvSpPr/>
          <p:nvPr/>
        </p:nvSpPr>
        <p:spPr>
          <a:xfrm>
            <a:off x="9447977" y="5772434"/>
            <a:ext cx="1207008" cy="4023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86177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solidFill>
                  <a:schemeClr val="tx1"/>
                </a:solidFill>
                <a:latin typeface="Roboto Light" panose="02000000000000000000" pitchFamily="2" charset="0"/>
                <a:ea typeface="Roboto Light" panose="02000000000000000000" pitchFamily="2" charset="0"/>
              </a:rPr>
              <a:t>Domestic vs. world raw sugar futures prices</a:t>
            </a:r>
          </a:p>
        </p:txBody>
      </p:sp>
      <p:sp>
        <p:nvSpPr>
          <p:cNvPr id="5" name="Content Placeholder 6"/>
          <p:cNvSpPr>
            <a:spLocks noGrp="1"/>
          </p:cNvSpPr>
          <p:nvPr>
            <p:ph sz="quarter" idx="11"/>
          </p:nvPr>
        </p:nvSpPr>
        <p:spPr/>
        <p:txBody>
          <a:bodyPr>
            <a:normAutofit/>
          </a:bodyPr>
          <a:lstStyle/>
          <a:p>
            <a:r>
              <a:rPr lang="en-US" dirty="0">
                <a:latin typeface="Arial Nova" panose="020B0504020202020204" pitchFamily="34" charset="0"/>
              </a:rPr>
              <a:t>Source: DTN, McKeany-Flavell</a:t>
            </a:r>
          </a:p>
        </p:txBody>
      </p:sp>
      <p:graphicFrame>
        <p:nvGraphicFramePr>
          <p:cNvPr id="600067" name="Object 3"/>
          <p:cNvGraphicFramePr>
            <a:graphicFrameLocks noChangeAspect="1"/>
          </p:cNvGraphicFramePr>
          <p:nvPr>
            <p:extLst>
              <p:ext uri="{D42A27DB-BD31-4B8C-83A1-F6EECF244321}">
                <p14:modId xmlns:p14="http://schemas.microsoft.com/office/powerpoint/2010/main" val="3876512012"/>
              </p:ext>
            </p:extLst>
          </p:nvPr>
        </p:nvGraphicFramePr>
        <p:xfrm>
          <a:off x="1595201" y="791758"/>
          <a:ext cx="9001597" cy="5131326"/>
        </p:xfrm>
        <a:graphic>
          <a:graphicData uri="http://schemas.openxmlformats.org/presentationml/2006/ole">
            <mc:AlternateContent xmlns:mc="http://schemas.openxmlformats.org/markup-compatibility/2006">
              <mc:Choice xmlns:v="urn:schemas-microsoft-com:vml" Requires="v">
                <p:oleObj spid="_x0000_s24603" name="Worksheet" r:id="rId4" imgW="6400872" imgH="3650087" progId="Excel.Sheet.12">
                  <p:link updateAutomatic="1"/>
                </p:oleObj>
              </mc:Choice>
              <mc:Fallback>
                <p:oleObj name="Worksheet" r:id="rId4" imgW="6400872" imgH="3650087" progId="Excel.Sheet.12">
                  <p:link updateAutomatic="1"/>
                  <p:pic>
                    <p:nvPicPr>
                      <p:cNvPr id="600067" name="Object 3"/>
                      <p:cNvPicPr>
                        <a:picLocks noChangeAspect="1" noChangeArrowheads="1"/>
                      </p:cNvPicPr>
                      <p:nvPr/>
                    </p:nvPicPr>
                    <p:blipFill>
                      <a:blip r:embed="rId5"/>
                      <a:srcRect/>
                      <a:stretch>
                        <a:fillRect/>
                      </a:stretch>
                    </p:blipFill>
                    <p:spPr bwMode="auto">
                      <a:xfrm>
                        <a:off x="1595201" y="791758"/>
                        <a:ext cx="9001597" cy="5131326"/>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21335902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77015-7469-384E-989B-1E48FD38BE1A}"/>
              </a:ext>
            </a:extLst>
          </p:cNvPr>
          <p:cNvSpPr>
            <a:spLocks noGrp="1"/>
          </p:cNvSpPr>
          <p:nvPr>
            <p:ph type="title"/>
          </p:nvPr>
        </p:nvSpPr>
        <p:spPr>
          <a:xfrm>
            <a:off x="555429" y="105832"/>
            <a:ext cx="10972800" cy="563389"/>
          </a:xfrm>
        </p:spPr>
        <p:txBody>
          <a:bodyPr>
            <a:normAutofit/>
          </a:bodyPr>
          <a:lstStyle/>
          <a:p>
            <a:r>
              <a:rPr lang="en-US" sz="2900" dirty="0"/>
              <a:t>Sugar-containing product imports</a:t>
            </a:r>
          </a:p>
        </p:txBody>
      </p:sp>
      <p:sp>
        <p:nvSpPr>
          <p:cNvPr id="3" name="Text Placeholder 2">
            <a:extLst>
              <a:ext uri="{FF2B5EF4-FFF2-40B4-BE49-F238E27FC236}">
                <a16:creationId xmlns:a16="http://schemas.microsoft.com/office/drawing/2014/main" id="{BE035755-3163-9849-80F7-1D475EFAC3AF}"/>
              </a:ext>
            </a:extLst>
          </p:cNvPr>
          <p:cNvSpPr>
            <a:spLocks noGrp="1"/>
          </p:cNvSpPr>
          <p:nvPr>
            <p:ph type="body" sz="quarter" idx="10"/>
          </p:nvPr>
        </p:nvSpPr>
        <p:spPr>
          <a:xfrm>
            <a:off x="8049686" y="6211229"/>
            <a:ext cx="3566583" cy="426638"/>
          </a:xfrm>
        </p:spPr>
        <p:txBody>
          <a:bodyPr>
            <a:normAutofit/>
          </a:bodyPr>
          <a:lstStyle/>
          <a:p>
            <a:r>
              <a:rPr lang="en-US" sz="800" i="1" dirty="0"/>
              <a:t>Est. equivalent sugar content</a:t>
            </a:r>
          </a:p>
          <a:p>
            <a:r>
              <a:rPr lang="en-US" sz="800" i="1" dirty="0"/>
              <a:t>Source: USDA</a:t>
            </a:r>
          </a:p>
        </p:txBody>
      </p:sp>
      <p:graphicFrame>
        <p:nvGraphicFramePr>
          <p:cNvPr id="6" name="Object 5">
            <a:extLst>
              <a:ext uri="{FF2B5EF4-FFF2-40B4-BE49-F238E27FC236}">
                <a16:creationId xmlns:a16="http://schemas.microsoft.com/office/drawing/2014/main" id="{9EB1B39B-12FD-4A57-AA1C-A0BBE99472E4}"/>
              </a:ext>
            </a:extLst>
          </p:cNvPr>
          <p:cNvGraphicFramePr>
            <a:graphicFrameLocks noChangeAspect="1"/>
          </p:cNvGraphicFramePr>
          <p:nvPr>
            <p:extLst>
              <p:ext uri="{D42A27DB-BD31-4B8C-83A1-F6EECF244321}">
                <p14:modId xmlns:p14="http://schemas.microsoft.com/office/powerpoint/2010/main" val="2626552950"/>
              </p:ext>
            </p:extLst>
          </p:nvPr>
        </p:nvGraphicFramePr>
        <p:xfrm>
          <a:off x="2318473" y="1341202"/>
          <a:ext cx="7555054" cy="4312346"/>
        </p:xfrm>
        <a:graphic>
          <a:graphicData uri="http://schemas.openxmlformats.org/presentationml/2006/ole">
            <mc:AlternateContent xmlns:mc="http://schemas.openxmlformats.org/markup-compatibility/2006">
              <mc:Choice xmlns:v="urn:schemas-microsoft-com:vml" Requires="v">
                <p:oleObj spid="_x0000_s22557" name="Worksheet" r:id="rId4" imgW="6391099" imgH="3647928" progId="Excel.Sheet.12">
                  <p:link updateAutomatic="1"/>
                </p:oleObj>
              </mc:Choice>
              <mc:Fallback>
                <p:oleObj name="Worksheet" r:id="rId4" imgW="6391099" imgH="3647928" progId="Excel.Sheet.12">
                  <p:link updateAutomatic="1"/>
                  <p:pic>
                    <p:nvPicPr>
                      <p:cNvPr id="0" name=""/>
                      <p:cNvPicPr/>
                      <p:nvPr/>
                    </p:nvPicPr>
                    <p:blipFill>
                      <a:blip r:embed="rId5"/>
                      <a:stretch>
                        <a:fillRect/>
                      </a:stretch>
                    </p:blipFill>
                    <p:spPr>
                      <a:xfrm>
                        <a:off x="2318473" y="1341202"/>
                        <a:ext cx="7555054" cy="4312346"/>
                      </a:xfrm>
                      <a:prstGeom prst="rect">
                        <a:avLst/>
                      </a:prstGeom>
                    </p:spPr>
                  </p:pic>
                </p:oleObj>
              </mc:Fallback>
            </mc:AlternateContent>
          </a:graphicData>
        </a:graphic>
      </p:graphicFrame>
    </p:spTree>
    <p:extLst>
      <p:ext uri="{BB962C8B-B14F-4D97-AF65-F5344CB8AC3E}">
        <p14:creationId xmlns:p14="http://schemas.microsoft.com/office/powerpoint/2010/main" val="6507568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24D86C-FCF2-4A33-822A-9AB303BEB42D}"/>
              </a:ext>
            </a:extLst>
          </p:cNvPr>
          <p:cNvSpPr>
            <a:spLocks noGrp="1"/>
          </p:cNvSpPr>
          <p:nvPr>
            <p:ph type="title"/>
          </p:nvPr>
        </p:nvSpPr>
        <p:spPr>
          <a:xfrm>
            <a:off x="557646" y="104506"/>
            <a:ext cx="10972800" cy="563389"/>
          </a:xfrm>
        </p:spPr>
        <p:txBody>
          <a:bodyPr/>
          <a:lstStyle/>
          <a:p>
            <a:r>
              <a:rPr lang="en-US" dirty="0"/>
              <a:t>Summary</a:t>
            </a:r>
          </a:p>
        </p:txBody>
      </p:sp>
      <p:sp>
        <p:nvSpPr>
          <p:cNvPr id="3" name="Text Placeholder 2">
            <a:extLst>
              <a:ext uri="{FF2B5EF4-FFF2-40B4-BE49-F238E27FC236}">
                <a16:creationId xmlns:a16="http://schemas.microsoft.com/office/drawing/2014/main" id="{A498CF47-1B2F-4BB4-9D71-207DD66CDBA8}"/>
              </a:ext>
            </a:extLst>
          </p:cNvPr>
          <p:cNvSpPr>
            <a:spLocks noGrp="1"/>
          </p:cNvSpPr>
          <p:nvPr>
            <p:ph type="body" sz="quarter" idx="10"/>
          </p:nvPr>
        </p:nvSpPr>
        <p:spPr/>
        <p:txBody>
          <a:bodyPr/>
          <a:lstStyle/>
          <a:p>
            <a:endParaRPr lang="en-US"/>
          </a:p>
        </p:txBody>
      </p:sp>
      <p:sp>
        <p:nvSpPr>
          <p:cNvPr id="5" name="TextBox 4">
            <a:extLst>
              <a:ext uri="{FF2B5EF4-FFF2-40B4-BE49-F238E27FC236}">
                <a16:creationId xmlns:a16="http://schemas.microsoft.com/office/drawing/2014/main" id="{FEBBC43C-D6E8-414E-91A0-35649FAD43B2}"/>
              </a:ext>
            </a:extLst>
          </p:cNvPr>
          <p:cNvSpPr txBox="1"/>
          <p:nvPr/>
        </p:nvSpPr>
        <p:spPr>
          <a:xfrm>
            <a:off x="718458" y="1567543"/>
            <a:ext cx="4582885" cy="4103914"/>
          </a:xfrm>
          <a:prstGeom prst="rect">
            <a:avLst/>
          </a:prstGeom>
          <a:noFill/>
        </p:spPr>
        <p:txBody>
          <a:bodyPr wrap="square" rtlCol="0">
            <a:spAutoFit/>
          </a:bodyPr>
          <a:lstStyle/>
          <a:p>
            <a:endParaRPr lang="en-US" dirty="0"/>
          </a:p>
        </p:txBody>
      </p:sp>
      <p:sp>
        <p:nvSpPr>
          <p:cNvPr id="6" name="TextBox 5">
            <a:extLst>
              <a:ext uri="{FF2B5EF4-FFF2-40B4-BE49-F238E27FC236}">
                <a16:creationId xmlns:a16="http://schemas.microsoft.com/office/drawing/2014/main" id="{50C8F48D-1801-4F49-9367-B0F9016DE1EB}"/>
              </a:ext>
            </a:extLst>
          </p:cNvPr>
          <p:cNvSpPr txBox="1"/>
          <p:nvPr/>
        </p:nvSpPr>
        <p:spPr>
          <a:xfrm>
            <a:off x="805544" y="1489354"/>
            <a:ext cx="4952699" cy="4801314"/>
          </a:xfrm>
          <a:prstGeom prst="rect">
            <a:avLst/>
          </a:prstGeom>
          <a:noFill/>
        </p:spPr>
        <p:txBody>
          <a:bodyPr wrap="square" rtlCol="0">
            <a:spAutoFit/>
          </a:bodyPr>
          <a:lstStyle/>
          <a:p>
            <a:r>
              <a:rPr lang="en-US" b="1" dirty="0">
                <a:solidFill>
                  <a:srgbClr val="4E5255"/>
                </a:solidFill>
                <a:latin typeface="Arial Nova" panose="020B0504020202020204" pitchFamily="34" charset="0"/>
              </a:rPr>
              <a:t>Bearish sugar consumption trends</a:t>
            </a:r>
          </a:p>
          <a:p>
            <a:endParaRPr lang="en-US" dirty="0">
              <a:solidFill>
                <a:srgbClr val="4E5255"/>
              </a:solidFill>
              <a:latin typeface="Arial Nova" panose="020B0504020202020204" pitchFamily="34" charset="0"/>
            </a:endParaRPr>
          </a:p>
          <a:p>
            <a:pPr marL="285750" indent="-285750">
              <a:lnSpc>
                <a:spcPts val="2400"/>
              </a:lnSpc>
              <a:spcAft>
                <a:spcPts val="600"/>
              </a:spcAft>
              <a:buSzPct val="125000"/>
              <a:buBlip>
                <a:blip r:embed="rId2"/>
              </a:buBlip>
            </a:pPr>
            <a:r>
              <a:rPr lang="en-US" dirty="0">
                <a:solidFill>
                  <a:srgbClr val="4E5255"/>
                </a:solidFill>
                <a:latin typeface="Arial Nova" panose="020B0504020202020204" pitchFamily="34" charset="0"/>
              </a:rPr>
              <a:t>Sugar being demonized as unhealthy</a:t>
            </a:r>
          </a:p>
          <a:p>
            <a:pPr marL="285750" indent="-285750">
              <a:lnSpc>
                <a:spcPts val="2400"/>
              </a:lnSpc>
              <a:spcAft>
                <a:spcPts val="600"/>
              </a:spcAft>
              <a:buSzPct val="125000"/>
              <a:buBlip>
                <a:blip r:embed="rId2"/>
              </a:buBlip>
            </a:pPr>
            <a:r>
              <a:rPr lang="en-US" dirty="0">
                <a:solidFill>
                  <a:srgbClr val="4E5255"/>
                </a:solidFill>
                <a:latin typeface="Arial Nova" panose="020B0504020202020204" pitchFamily="34" charset="0"/>
              </a:rPr>
              <a:t>Population growth slowing on lower birth rate and immigration</a:t>
            </a:r>
          </a:p>
          <a:p>
            <a:pPr marL="285750" indent="-285750">
              <a:lnSpc>
                <a:spcPts val="2400"/>
              </a:lnSpc>
              <a:spcAft>
                <a:spcPts val="600"/>
              </a:spcAft>
              <a:buSzPct val="125000"/>
              <a:buBlip>
                <a:blip r:embed="rId2"/>
              </a:buBlip>
            </a:pPr>
            <a:r>
              <a:rPr lang="en-US" dirty="0">
                <a:solidFill>
                  <a:srgbClr val="4E5255"/>
                </a:solidFill>
                <a:latin typeface="Arial Nova" panose="020B0504020202020204" pitchFamily="34" charset="0"/>
              </a:rPr>
              <a:t>Food marketers reduce product size offerings instead of increase prices</a:t>
            </a:r>
          </a:p>
          <a:p>
            <a:pPr marL="285750" indent="-285750">
              <a:lnSpc>
                <a:spcPts val="2400"/>
              </a:lnSpc>
              <a:spcAft>
                <a:spcPts val="600"/>
              </a:spcAft>
              <a:buSzPct val="125000"/>
              <a:buBlip>
                <a:blip r:embed="rId2"/>
              </a:buBlip>
            </a:pPr>
            <a:r>
              <a:rPr lang="en-US" dirty="0">
                <a:solidFill>
                  <a:srgbClr val="4E5255"/>
                </a:solidFill>
                <a:latin typeface="Arial Nova" panose="020B0504020202020204" pitchFamily="34" charset="0"/>
              </a:rPr>
              <a:t>Taxes and other legislation designed to reduce consumption of high calorie beverages and food products</a:t>
            </a:r>
          </a:p>
          <a:p>
            <a:r>
              <a:rPr lang="en-US" dirty="0">
                <a:solidFill>
                  <a:srgbClr val="4E5255"/>
                </a:solidFill>
                <a:latin typeface="Arial Nova" panose="020B0504020202020204" pitchFamily="34" charset="0"/>
              </a:rPr>
              <a:t>	</a:t>
            </a:r>
          </a:p>
          <a:p>
            <a:r>
              <a:rPr lang="en-US" dirty="0">
                <a:solidFill>
                  <a:srgbClr val="4E5255"/>
                </a:solidFill>
                <a:latin typeface="Arial Nova" panose="020B0504020202020204" pitchFamily="34" charset="0"/>
              </a:rPr>
              <a:t>		</a:t>
            </a:r>
          </a:p>
          <a:p>
            <a:endParaRPr lang="en-US" dirty="0">
              <a:solidFill>
                <a:srgbClr val="4E5255"/>
              </a:solidFill>
              <a:latin typeface="Arial Nova" panose="020B0504020202020204" pitchFamily="34" charset="0"/>
            </a:endParaRPr>
          </a:p>
          <a:p>
            <a:endParaRPr lang="en-US" dirty="0">
              <a:solidFill>
                <a:srgbClr val="4E5255"/>
              </a:solidFill>
              <a:latin typeface="Arial Nova" panose="020B0504020202020204" pitchFamily="34" charset="0"/>
            </a:endParaRPr>
          </a:p>
          <a:p>
            <a:endParaRPr lang="en-US" dirty="0">
              <a:solidFill>
                <a:srgbClr val="4E5255"/>
              </a:solidFill>
              <a:latin typeface="Arial Nova" panose="020B0504020202020204" pitchFamily="34" charset="0"/>
            </a:endParaRPr>
          </a:p>
        </p:txBody>
      </p:sp>
      <p:sp>
        <p:nvSpPr>
          <p:cNvPr id="7" name="TextBox 6">
            <a:extLst>
              <a:ext uri="{FF2B5EF4-FFF2-40B4-BE49-F238E27FC236}">
                <a16:creationId xmlns:a16="http://schemas.microsoft.com/office/drawing/2014/main" id="{15F9305F-CA79-47C0-9E70-6F334B5AF59E}"/>
              </a:ext>
            </a:extLst>
          </p:cNvPr>
          <p:cNvSpPr txBox="1"/>
          <p:nvPr/>
        </p:nvSpPr>
        <p:spPr>
          <a:xfrm>
            <a:off x="6303129" y="1489354"/>
            <a:ext cx="4952699" cy="3247043"/>
          </a:xfrm>
          <a:prstGeom prst="rect">
            <a:avLst/>
          </a:prstGeom>
          <a:noFill/>
        </p:spPr>
        <p:txBody>
          <a:bodyPr wrap="square" rtlCol="0">
            <a:spAutoFit/>
          </a:bodyPr>
          <a:lstStyle/>
          <a:p>
            <a:r>
              <a:rPr lang="en-US" b="1" dirty="0">
                <a:solidFill>
                  <a:srgbClr val="4E5255"/>
                </a:solidFill>
                <a:latin typeface="Arial Nova" panose="020B0504020202020204" pitchFamily="34" charset="0"/>
              </a:rPr>
              <a:t>Bullish sugar consumption trends</a:t>
            </a:r>
          </a:p>
          <a:p>
            <a:endParaRPr lang="en-US" dirty="0"/>
          </a:p>
          <a:p>
            <a:pPr marL="285750" indent="-285750">
              <a:lnSpc>
                <a:spcPts val="2400"/>
              </a:lnSpc>
              <a:spcAft>
                <a:spcPts val="600"/>
              </a:spcAft>
              <a:buSzPct val="125000"/>
              <a:buBlip>
                <a:blip r:embed="rId2"/>
              </a:buBlip>
            </a:pPr>
            <a:r>
              <a:rPr lang="en-US" dirty="0">
                <a:solidFill>
                  <a:srgbClr val="4E5255"/>
                </a:solidFill>
                <a:latin typeface="Arial Nova" panose="020B0504020202020204" pitchFamily="34" charset="0"/>
              </a:rPr>
              <a:t>Population is still growing 0.5% per year</a:t>
            </a:r>
          </a:p>
          <a:p>
            <a:pPr marL="285750" indent="-285750">
              <a:lnSpc>
                <a:spcPts val="2400"/>
              </a:lnSpc>
              <a:spcAft>
                <a:spcPts val="600"/>
              </a:spcAft>
              <a:buSzPct val="125000"/>
              <a:buBlip>
                <a:blip r:embed="rId2"/>
              </a:buBlip>
            </a:pPr>
            <a:r>
              <a:rPr lang="en-US" dirty="0">
                <a:solidFill>
                  <a:srgbClr val="4E5255"/>
                </a:solidFill>
                <a:latin typeface="Arial Nova" panose="020B0504020202020204" pitchFamily="34" charset="0"/>
              </a:rPr>
              <a:t>Many consumers prefer sugar over HFCS as a healthier, more natural ingredient</a:t>
            </a:r>
          </a:p>
          <a:p>
            <a:pPr marL="285750" indent="-285750">
              <a:lnSpc>
                <a:spcPts val="2400"/>
              </a:lnSpc>
              <a:spcAft>
                <a:spcPts val="600"/>
              </a:spcAft>
              <a:buSzPct val="125000"/>
              <a:buBlip>
                <a:blip r:embed="rId2"/>
              </a:buBlip>
            </a:pPr>
            <a:r>
              <a:rPr lang="en-US" dirty="0">
                <a:solidFill>
                  <a:srgbClr val="4E5255"/>
                </a:solidFill>
                <a:latin typeface="Arial Nova" panose="020B0504020202020204" pitchFamily="34" charset="0"/>
              </a:rPr>
              <a:t>The functionality, taste, and value proposition is hard to beat	</a:t>
            </a:r>
          </a:p>
          <a:p>
            <a:endParaRPr lang="en-US" dirty="0"/>
          </a:p>
          <a:p>
            <a:endParaRPr lang="en-US" dirty="0"/>
          </a:p>
          <a:p>
            <a:endParaRPr lang="en-US" dirty="0"/>
          </a:p>
        </p:txBody>
      </p:sp>
    </p:spTree>
    <p:extLst>
      <p:ext uri="{BB962C8B-B14F-4D97-AF65-F5344CB8AC3E}">
        <p14:creationId xmlns:p14="http://schemas.microsoft.com/office/powerpoint/2010/main" val="175858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63BC7E-63A7-1A45-9DFE-DC564E9B9D55}"/>
              </a:ext>
            </a:extLst>
          </p:cNvPr>
          <p:cNvSpPr>
            <a:spLocks noGrp="1"/>
          </p:cNvSpPr>
          <p:nvPr>
            <p:ph type="title"/>
          </p:nvPr>
        </p:nvSpPr>
        <p:spPr/>
        <p:txBody>
          <a:bodyPr>
            <a:normAutofit fontScale="90000"/>
          </a:bodyPr>
          <a:lstStyle/>
          <a:p>
            <a:r>
              <a:rPr lang="en-US" dirty="0"/>
              <a:t>“Scare” headlines for sugar</a:t>
            </a:r>
          </a:p>
        </p:txBody>
      </p:sp>
      <p:sp>
        <p:nvSpPr>
          <p:cNvPr id="14" name="Content Placeholder 13">
            <a:extLst>
              <a:ext uri="{FF2B5EF4-FFF2-40B4-BE49-F238E27FC236}">
                <a16:creationId xmlns:a16="http://schemas.microsoft.com/office/drawing/2014/main" id="{CDE5E6B1-A2F0-4A29-A128-5170AE452FBD}"/>
              </a:ext>
            </a:extLst>
          </p:cNvPr>
          <p:cNvSpPr>
            <a:spLocks noGrp="1"/>
          </p:cNvSpPr>
          <p:nvPr>
            <p:ph sz="quarter" idx="11"/>
          </p:nvPr>
        </p:nvSpPr>
        <p:spPr/>
        <p:txBody>
          <a:bodyPr/>
          <a:lstStyle/>
          <a:p>
            <a:endParaRPr lang="en-US"/>
          </a:p>
        </p:txBody>
      </p:sp>
      <p:grpSp>
        <p:nvGrpSpPr>
          <p:cNvPr id="5" name="Group 4">
            <a:extLst>
              <a:ext uri="{FF2B5EF4-FFF2-40B4-BE49-F238E27FC236}">
                <a16:creationId xmlns:a16="http://schemas.microsoft.com/office/drawing/2014/main" id="{BC5FA65C-C72B-4B4F-8023-3EA47BD6110E}"/>
              </a:ext>
            </a:extLst>
          </p:cNvPr>
          <p:cNvGrpSpPr/>
          <p:nvPr/>
        </p:nvGrpSpPr>
        <p:grpSpPr>
          <a:xfrm>
            <a:off x="765907" y="1750647"/>
            <a:ext cx="1719384" cy="2721133"/>
            <a:chOff x="466931" y="1085967"/>
            <a:chExt cx="1842839" cy="2825519"/>
          </a:xfrm>
        </p:grpSpPr>
        <p:sp>
          <p:nvSpPr>
            <p:cNvPr id="6" name="TextBox 5">
              <a:extLst>
                <a:ext uri="{FF2B5EF4-FFF2-40B4-BE49-F238E27FC236}">
                  <a16:creationId xmlns:a16="http://schemas.microsoft.com/office/drawing/2014/main" id="{F38A2CAC-A7A1-524C-9053-50D2E72D57A3}"/>
                </a:ext>
              </a:extLst>
            </p:cNvPr>
            <p:cNvSpPr txBox="1"/>
            <p:nvPr/>
          </p:nvSpPr>
          <p:spPr>
            <a:xfrm>
              <a:off x="474514" y="3048611"/>
              <a:ext cx="1835256" cy="862875"/>
            </a:xfrm>
            <a:prstGeom prst="rect">
              <a:avLst/>
            </a:prstGeom>
            <a:noFill/>
          </p:spPr>
          <p:txBody>
            <a:bodyPr wrap="square" rtlCol="0">
              <a:spAutoFit/>
            </a:bodyPr>
            <a:lstStyle/>
            <a:p>
              <a:pPr algn="ctr"/>
              <a:r>
                <a:rPr lang="en-US" sz="1600" dirty="0">
                  <a:solidFill>
                    <a:schemeClr val="bg1">
                      <a:lumMod val="25000"/>
                    </a:schemeClr>
                  </a:solidFill>
                  <a:latin typeface="Roboto" panose="02000000000000000000" pitchFamily="2" charset="0"/>
                  <a:ea typeface="Roboto" panose="02000000000000000000" pitchFamily="2" charset="0"/>
                  <a:cs typeface="Roboto Light"/>
                </a:rPr>
                <a:t>Sugar is definitely toxic, a new study says</a:t>
              </a:r>
            </a:p>
          </p:txBody>
        </p:sp>
        <p:sp>
          <p:nvSpPr>
            <p:cNvPr id="7" name="Title 1">
              <a:extLst>
                <a:ext uri="{FF2B5EF4-FFF2-40B4-BE49-F238E27FC236}">
                  <a16:creationId xmlns:a16="http://schemas.microsoft.com/office/drawing/2014/main" id="{A9C8224E-1F9D-0A4A-8983-638DAC2B6849}"/>
                </a:ext>
              </a:extLst>
            </p:cNvPr>
            <p:cNvSpPr txBox="1">
              <a:spLocks/>
            </p:cNvSpPr>
            <p:nvPr/>
          </p:nvSpPr>
          <p:spPr>
            <a:xfrm>
              <a:off x="470420" y="2658142"/>
              <a:ext cx="1828278" cy="338668"/>
            </a:xfrm>
            <a:prstGeom prst="rect">
              <a:avLst/>
            </a:prstGeom>
          </p:spPr>
          <p:txBody>
            <a:bodyPr vert="horz" lIns="121920" tIns="60960" rIns="121920" bIns="60960" rtlCol="0" anchor="ctr">
              <a:noAutofit/>
            </a:bodyPr>
            <a:lstStyle>
              <a:lvl1pPr algn="l" defTabSz="457200" rtl="0" eaLnBrk="1" latinLnBrk="0" hangingPunct="1">
                <a:spcBef>
                  <a:spcPct val="0"/>
                </a:spcBef>
                <a:buNone/>
                <a:defRPr sz="2000" b="1" kern="1200">
                  <a:solidFill>
                    <a:schemeClr val="tx1"/>
                  </a:solidFill>
                  <a:latin typeface="Roboto Light"/>
                  <a:ea typeface="+mj-ea"/>
                  <a:cs typeface="Roboto Light"/>
                </a:defRPr>
              </a:lvl1pPr>
            </a:lstStyle>
            <a:p>
              <a:pPr algn="ctr"/>
              <a:r>
                <a:rPr lang="en-US" sz="1733" dirty="0">
                  <a:solidFill>
                    <a:schemeClr val="bg1">
                      <a:lumMod val="25000"/>
                    </a:schemeClr>
                  </a:solidFill>
                  <a:latin typeface="Roboto" panose="02000000000000000000" pitchFamily="2" charset="0"/>
                  <a:ea typeface="Roboto" panose="02000000000000000000" pitchFamily="2" charset="0"/>
                </a:rPr>
                <a:t>Time Health</a:t>
              </a:r>
            </a:p>
          </p:txBody>
        </p:sp>
        <p:sp>
          <p:nvSpPr>
            <p:cNvPr id="8" name="Rounded Rectangle 7">
              <a:extLst>
                <a:ext uri="{FF2B5EF4-FFF2-40B4-BE49-F238E27FC236}">
                  <a16:creationId xmlns:a16="http://schemas.microsoft.com/office/drawing/2014/main" id="{C607C3E9-ADDC-E049-990C-404BCF6521A6}"/>
                </a:ext>
              </a:extLst>
            </p:cNvPr>
            <p:cNvSpPr/>
            <p:nvPr/>
          </p:nvSpPr>
          <p:spPr>
            <a:xfrm>
              <a:off x="466931" y="1085967"/>
              <a:ext cx="1835254" cy="1265971"/>
            </a:xfrm>
            <a:prstGeom prst="roundRect">
              <a:avLst>
                <a:gd name="adj" fmla="val 4119"/>
              </a:avLst>
            </a:prstGeom>
            <a:blipFill>
              <a:blip r:embed="rId3"/>
              <a:stretch>
                <a:fillRect/>
              </a:stretch>
            </a:blipFill>
            <a:ln w="6350">
              <a:solidFill>
                <a:schemeClr val="bg1">
                  <a:lumMod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grpSp>
        <p:nvGrpSpPr>
          <p:cNvPr id="45" name="Group 44">
            <a:extLst>
              <a:ext uri="{FF2B5EF4-FFF2-40B4-BE49-F238E27FC236}">
                <a16:creationId xmlns:a16="http://schemas.microsoft.com/office/drawing/2014/main" id="{14260384-BD15-2346-ADBC-4F4668923C8D}"/>
              </a:ext>
            </a:extLst>
          </p:cNvPr>
          <p:cNvGrpSpPr/>
          <p:nvPr/>
        </p:nvGrpSpPr>
        <p:grpSpPr>
          <a:xfrm>
            <a:off x="2547205" y="1750647"/>
            <a:ext cx="1719384" cy="3213575"/>
            <a:chOff x="466931" y="1085967"/>
            <a:chExt cx="1842839" cy="3336854"/>
          </a:xfrm>
        </p:grpSpPr>
        <p:sp>
          <p:nvSpPr>
            <p:cNvPr id="46" name="TextBox 45">
              <a:extLst>
                <a:ext uri="{FF2B5EF4-FFF2-40B4-BE49-F238E27FC236}">
                  <a16:creationId xmlns:a16="http://schemas.microsoft.com/office/drawing/2014/main" id="{EBB3532A-0651-F747-AF8A-DBBD0D0B167A}"/>
                </a:ext>
              </a:extLst>
            </p:cNvPr>
            <p:cNvSpPr txBox="1"/>
            <p:nvPr/>
          </p:nvSpPr>
          <p:spPr>
            <a:xfrm>
              <a:off x="474514" y="3048612"/>
              <a:ext cx="1835256" cy="1374209"/>
            </a:xfrm>
            <a:prstGeom prst="rect">
              <a:avLst/>
            </a:prstGeom>
            <a:noFill/>
          </p:spPr>
          <p:txBody>
            <a:bodyPr wrap="square" rtlCol="0">
              <a:spAutoFit/>
            </a:bodyPr>
            <a:lstStyle/>
            <a:p>
              <a:pPr algn="ctr"/>
              <a:r>
                <a:rPr lang="en-US" sz="1600" dirty="0">
                  <a:solidFill>
                    <a:schemeClr val="bg1">
                      <a:lumMod val="25000"/>
                    </a:schemeClr>
                  </a:solidFill>
                  <a:latin typeface="Roboto" panose="02000000000000000000" pitchFamily="2" charset="0"/>
                  <a:ea typeface="Roboto" panose="02000000000000000000" pitchFamily="2" charset="0"/>
                  <a:cs typeface="Roboto Light"/>
                </a:rPr>
                <a:t>Sugar is poison. My heart attack has finally opened my eyes to the truth</a:t>
              </a:r>
            </a:p>
          </p:txBody>
        </p:sp>
        <p:sp>
          <p:nvSpPr>
            <p:cNvPr id="47" name="Title 1">
              <a:extLst>
                <a:ext uri="{FF2B5EF4-FFF2-40B4-BE49-F238E27FC236}">
                  <a16:creationId xmlns:a16="http://schemas.microsoft.com/office/drawing/2014/main" id="{DA90DC57-76A5-6446-8B7D-78AC76E17261}"/>
                </a:ext>
              </a:extLst>
            </p:cNvPr>
            <p:cNvSpPr txBox="1">
              <a:spLocks/>
            </p:cNvSpPr>
            <p:nvPr/>
          </p:nvSpPr>
          <p:spPr>
            <a:xfrm>
              <a:off x="470420" y="2658143"/>
              <a:ext cx="1828277" cy="338668"/>
            </a:xfrm>
            <a:prstGeom prst="rect">
              <a:avLst/>
            </a:prstGeom>
          </p:spPr>
          <p:txBody>
            <a:bodyPr vert="horz" lIns="121920" tIns="60960" rIns="121920" bIns="60960" rtlCol="0" anchor="ctr">
              <a:noAutofit/>
            </a:bodyPr>
            <a:lstStyle>
              <a:lvl1pPr algn="l" defTabSz="457200" rtl="0" eaLnBrk="1" latinLnBrk="0" hangingPunct="1">
                <a:spcBef>
                  <a:spcPct val="0"/>
                </a:spcBef>
                <a:buNone/>
                <a:defRPr sz="2000" b="1" kern="1200">
                  <a:solidFill>
                    <a:schemeClr val="tx1"/>
                  </a:solidFill>
                  <a:latin typeface="Roboto Light"/>
                  <a:ea typeface="+mj-ea"/>
                  <a:cs typeface="Roboto Light"/>
                </a:defRPr>
              </a:lvl1pPr>
            </a:lstStyle>
            <a:p>
              <a:pPr algn="ctr"/>
              <a:r>
                <a:rPr lang="en-US" sz="1733" dirty="0">
                  <a:solidFill>
                    <a:schemeClr val="bg1">
                      <a:lumMod val="25000"/>
                    </a:schemeClr>
                  </a:solidFill>
                  <a:latin typeface="Roboto" panose="02000000000000000000" pitchFamily="2" charset="0"/>
                  <a:ea typeface="Roboto" panose="02000000000000000000" pitchFamily="2" charset="0"/>
                </a:rPr>
                <a:t>The Guardian</a:t>
              </a:r>
            </a:p>
          </p:txBody>
        </p:sp>
        <p:sp>
          <p:nvSpPr>
            <p:cNvPr id="48" name="Rounded Rectangle 47">
              <a:extLst>
                <a:ext uri="{FF2B5EF4-FFF2-40B4-BE49-F238E27FC236}">
                  <a16:creationId xmlns:a16="http://schemas.microsoft.com/office/drawing/2014/main" id="{26258F4C-7C2B-C242-827E-233E846443B4}"/>
                </a:ext>
              </a:extLst>
            </p:cNvPr>
            <p:cNvSpPr/>
            <p:nvPr/>
          </p:nvSpPr>
          <p:spPr>
            <a:xfrm>
              <a:off x="466931" y="1085967"/>
              <a:ext cx="1835254" cy="1265971"/>
            </a:xfrm>
            <a:prstGeom prst="roundRect">
              <a:avLst>
                <a:gd name="adj" fmla="val 4119"/>
              </a:avLst>
            </a:prstGeom>
            <a:blipFill>
              <a:blip r:embed="rId4"/>
              <a:stretch>
                <a:fillRect/>
              </a:stretch>
            </a:blipFill>
            <a:ln w="6350">
              <a:solidFill>
                <a:schemeClr val="bg1">
                  <a:lumMod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grpSp>
        <p:nvGrpSpPr>
          <p:cNvPr id="49" name="Group 48">
            <a:extLst>
              <a:ext uri="{FF2B5EF4-FFF2-40B4-BE49-F238E27FC236}">
                <a16:creationId xmlns:a16="http://schemas.microsoft.com/office/drawing/2014/main" id="{AB9C8AE4-DB55-1D42-A904-428C42E4E8BB}"/>
              </a:ext>
            </a:extLst>
          </p:cNvPr>
          <p:cNvGrpSpPr/>
          <p:nvPr/>
        </p:nvGrpSpPr>
        <p:grpSpPr>
          <a:xfrm>
            <a:off x="4342095" y="1750647"/>
            <a:ext cx="1719384" cy="2474911"/>
            <a:chOff x="466931" y="1085967"/>
            <a:chExt cx="1842839" cy="2569853"/>
          </a:xfrm>
        </p:grpSpPr>
        <p:sp>
          <p:nvSpPr>
            <p:cNvPr id="50" name="TextBox 49">
              <a:extLst>
                <a:ext uri="{FF2B5EF4-FFF2-40B4-BE49-F238E27FC236}">
                  <a16:creationId xmlns:a16="http://schemas.microsoft.com/office/drawing/2014/main" id="{14DB573F-AA08-214F-AB28-93F40F8B69FF}"/>
                </a:ext>
              </a:extLst>
            </p:cNvPr>
            <p:cNvSpPr txBox="1"/>
            <p:nvPr/>
          </p:nvSpPr>
          <p:spPr>
            <a:xfrm>
              <a:off x="474514" y="3048612"/>
              <a:ext cx="1835256" cy="607208"/>
            </a:xfrm>
            <a:prstGeom prst="rect">
              <a:avLst/>
            </a:prstGeom>
            <a:noFill/>
          </p:spPr>
          <p:txBody>
            <a:bodyPr wrap="square" rtlCol="0">
              <a:spAutoFit/>
            </a:bodyPr>
            <a:lstStyle/>
            <a:p>
              <a:pPr algn="ctr"/>
              <a:r>
                <a:rPr lang="en-US" sz="1600" dirty="0">
                  <a:solidFill>
                    <a:schemeClr val="bg1">
                      <a:lumMod val="25000"/>
                    </a:schemeClr>
                  </a:solidFill>
                  <a:latin typeface="Roboto" panose="02000000000000000000" pitchFamily="2" charset="0"/>
                  <a:ea typeface="Roboto" panose="02000000000000000000" pitchFamily="2" charset="0"/>
                  <a:cs typeface="Roboto Light"/>
                </a:rPr>
                <a:t>The war on sugar</a:t>
              </a:r>
            </a:p>
          </p:txBody>
        </p:sp>
        <p:sp>
          <p:nvSpPr>
            <p:cNvPr id="51" name="Title 1">
              <a:extLst>
                <a:ext uri="{FF2B5EF4-FFF2-40B4-BE49-F238E27FC236}">
                  <a16:creationId xmlns:a16="http://schemas.microsoft.com/office/drawing/2014/main" id="{392C28C3-3CEA-9041-92CA-E7377C008B77}"/>
                </a:ext>
              </a:extLst>
            </p:cNvPr>
            <p:cNvSpPr txBox="1">
              <a:spLocks/>
            </p:cNvSpPr>
            <p:nvPr/>
          </p:nvSpPr>
          <p:spPr>
            <a:xfrm>
              <a:off x="470420" y="2658143"/>
              <a:ext cx="1828277" cy="338668"/>
            </a:xfrm>
            <a:prstGeom prst="rect">
              <a:avLst/>
            </a:prstGeom>
          </p:spPr>
          <p:txBody>
            <a:bodyPr vert="horz" lIns="121920" tIns="60960" rIns="121920" bIns="60960" rtlCol="0" anchor="ctr">
              <a:noAutofit/>
            </a:bodyPr>
            <a:lstStyle>
              <a:lvl1pPr algn="l" defTabSz="457200" rtl="0" eaLnBrk="1" latinLnBrk="0" hangingPunct="1">
                <a:spcBef>
                  <a:spcPct val="0"/>
                </a:spcBef>
                <a:buNone/>
                <a:defRPr sz="2000" b="1" kern="1200">
                  <a:solidFill>
                    <a:schemeClr val="tx1"/>
                  </a:solidFill>
                  <a:latin typeface="Roboto Light"/>
                  <a:ea typeface="+mj-ea"/>
                  <a:cs typeface="Roboto Light"/>
                </a:defRPr>
              </a:lvl1pPr>
            </a:lstStyle>
            <a:p>
              <a:pPr algn="ctr"/>
              <a:r>
                <a:rPr lang="en-US" sz="1733" dirty="0">
                  <a:solidFill>
                    <a:schemeClr val="bg1">
                      <a:lumMod val="25000"/>
                    </a:schemeClr>
                  </a:solidFill>
                  <a:latin typeface="Roboto" panose="02000000000000000000" pitchFamily="2" charset="0"/>
                  <a:ea typeface="Roboto" panose="02000000000000000000" pitchFamily="2" charset="0"/>
                </a:rPr>
                <a:t>Boston Globe</a:t>
              </a:r>
            </a:p>
          </p:txBody>
        </p:sp>
        <p:sp>
          <p:nvSpPr>
            <p:cNvPr id="52" name="Rounded Rectangle 51">
              <a:extLst>
                <a:ext uri="{FF2B5EF4-FFF2-40B4-BE49-F238E27FC236}">
                  <a16:creationId xmlns:a16="http://schemas.microsoft.com/office/drawing/2014/main" id="{4F8766FE-25B8-AC45-B3C1-3AB24BDABA03}"/>
                </a:ext>
              </a:extLst>
            </p:cNvPr>
            <p:cNvSpPr/>
            <p:nvPr/>
          </p:nvSpPr>
          <p:spPr>
            <a:xfrm>
              <a:off x="466931" y="1085967"/>
              <a:ext cx="1835254" cy="1265971"/>
            </a:xfrm>
            <a:prstGeom prst="roundRect">
              <a:avLst>
                <a:gd name="adj" fmla="val 4119"/>
              </a:avLst>
            </a:prstGeom>
            <a:blipFill dpi="0" rotWithShape="1">
              <a:blip r:embed="rId5"/>
              <a:srcRect/>
              <a:stretch>
                <a:fillRect l="-22000" r="-19000"/>
              </a:stretch>
            </a:blipFill>
            <a:ln w="6350">
              <a:solidFill>
                <a:schemeClr val="bg1">
                  <a:lumMod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grpSp>
        <p:nvGrpSpPr>
          <p:cNvPr id="53" name="Group 52">
            <a:extLst>
              <a:ext uri="{FF2B5EF4-FFF2-40B4-BE49-F238E27FC236}">
                <a16:creationId xmlns:a16="http://schemas.microsoft.com/office/drawing/2014/main" id="{63A08F7F-64CB-8E49-BCD9-01DFDF2C6F39}"/>
              </a:ext>
            </a:extLst>
          </p:cNvPr>
          <p:cNvGrpSpPr/>
          <p:nvPr/>
        </p:nvGrpSpPr>
        <p:grpSpPr>
          <a:xfrm>
            <a:off x="6133727" y="1750647"/>
            <a:ext cx="1719384" cy="2474911"/>
            <a:chOff x="466931" y="1085967"/>
            <a:chExt cx="1842839" cy="2569853"/>
          </a:xfrm>
          <a:solidFill>
            <a:srgbClr val="FAFAFA"/>
          </a:solidFill>
        </p:grpSpPr>
        <p:sp>
          <p:nvSpPr>
            <p:cNvPr id="54" name="TextBox 53">
              <a:extLst>
                <a:ext uri="{FF2B5EF4-FFF2-40B4-BE49-F238E27FC236}">
                  <a16:creationId xmlns:a16="http://schemas.microsoft.com/office/drawing/2014/main" id="{197276B6-81E3-114B-B685-565A349D6184}"/>
                </a:ext>
              </a:extLst>
            </p:cNvPr>
            <p:cNvSpPr txBox="1"/>
            <p:nvPr/>
          </p:nvSpPr>
          <p:spPr>
            <a:xfrm>
              <a:off x="474514" y="3048612"/>
              <a:ext cx="1835256" cy="607208"/>
            </a:xfrm>
            <a:prstGeom prst="rect">
              <a:avLst/>
            </a:prstGeom>
            <a:solidFill>
              <a:schemeClr val="bg1"/>
            </a:solidFill>
          </p:spPr>
          <p:txBody>
            <a:bodyPr wrap="square" rtlCol="0">
              <a:spAutoFit/>
            </a:bodyPr>
            <a:lstStyle/>
            <a:p>
              <a:pPr algn="ctr"/>
              <a:r>
                <a:rPr lang="en-US" sz="1600" dirty="0">
                  <a:solidFill>
                    <a:schemeClr val="bg1">
                      <a:lumMod val="25000"/>
                    </a:schemeClr>
                  </a:solidFill>
                  <a:latin typeface="Roboto" panose="02000000000000000000" pitchFamily="2" charset="0"/>
                  <a:ea typeface="Roboto" panose="02000000000000000000" pitchFamily="2" charset="0"/>
                  <a:cs typeface="Roboto Light"/>
                </a:rPr>
                <a:t>Is sugar the new tobacco?</a:t>
              </a:r>
            </a:p>
          </p:txBody>
        </p:sp>
        <p:sp>
          <p:nvSpPr>
            <p:cNvPr id="55" name="Title 1">
              <a:extLst>
                <a:ext uri="{FF2B5EF4-FFF2-40B4-BE49-F238E27FC236}">
                  <a16:creationId xmlns:a16="http://schemas.microsoft.com/office/drawing/2014/main" id="{0A5499D0-DAEA-FD4D-B9EE-5299B5E4EBC9}"/>
                </a:ext>
              </a:extLst>
            </p:cNvPr>
            <p:cNvSpPr txBox="1">
              <a:spLocks/>
            </p:cNvSpPr>
            <p:nvPr/>
          </p:nvSpPr>
          <p:spPr>
            <a:xfrm>
              <a:off x="470420" y="2658143"/>
              <a:ext cx="1828277" cy="338668"/>
            </a:xfrm>
            <a:prstGeom prst="rect">
              <a:avLst/>
            </a:prstGeom>
            <a:solidFill>
              <a:schemeClr val="bg1"/>
            </a:solidFill>
          </p:spPr>
          <p:txBody>
            <a:bodyPr vert="horz" lIns="121920" tIns="60960" rIns="121920" bIns="60960" rtlCol="0" anchor="ctr">
              <a:noAutofit/>
            </a:bodyPr>
            <a:lstStyle>
              <a:lvl1pPr algn="l" defTabSz="457200" rtl="0" eaLnBrk="1" latinLnBrk="0" hangingPunct="1">
                <a:spcBef>
                  <a:spcPct val="0"/>
                </a:spcBef>
                <a:buNone/>
                <a:defRPr sz="2000" b="1" kern="1200">
                  <a:solidFill>
                    <a:schemeClr val="tx1"/>
                  </a:solidFill>
                  <a:latin typeface="Roboto Light"/>
                  <a:ea typeface="+mj-ea"/>
                  <a:cs typeface="Roboto Light"/>
                </a:defRPr>
              </a:lvl1pPr>
            </a:lstStyle>
            <a:p>
              <a:pPr algn="ctr"/>
              <a:r>
                <a:rPr lang="en-US" sz="1733" dirty="0">
                  <a:solidFill>
                    <a:schemeClr val="bg1">
                      <a:lumMod val="25000"/>
                    </a:schemeClr>
                  </a:solidFill>
                  <a:latin typeface="Roboto" panose="02000000000000000000" pitchFamily="2" charset="0"/>
                  <a:ea typeface="Roboto" panose="02000000000000000000" pitchFamily="2" charset="0"/>
                </a:rPr>
                <a:t>Bloomberg</a:t>
              </a:r>
            </a:p>
          </p:txBody>
        </p:sp>
        <p:sp>
          <p:nvSpPr>
            <p:cNvPr id="56" name="Rounded Rectangle 55">
              <a:extLst>
                <a:ext uri="{FF2B5EF4-FFF2-40B4-BE49-F238E27FC236}">
                  <a16:creationId xmlns:a16="http://schemas.microsoft.com/office/drawing/2014/main" id="{67C0258B-4118-9D44-8D2C-849008E34FF3}"/>
                </a:ext>
              </a:extLst>
            </p:cNvPr>
            <p:cNvSpPr/>
            <p:nvPr/>
          </p:nvSpPr>
          <p:spPr>
            <a:xfrm>
              <a:off x="466931" y="1085967"/>
              <a:ext cx="1835254" cy="1265971"/>
            </a:xfrm>
            <a:prstGeom prst="roundRect">
              <a:avLst>
                <a:gd name="adj" fmla="val 4119"/>
              </a:avLst>
            </a:prstGeom>
            <a:blipFill dpi="0" rotWithShape="1">
              <a:blip r:embed="rId6"/>
              <a:srcRect/>
              <a:stretch>
                <a:fillRect/>
              </a:stretch>
            </a:blipFill>
            <a:ln w="6350">
              <a:solidFill>
                <a:schemeClr val="bg1">
                  <a:lumMod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grpSp>
        <p:nvGrpSpPr>
          <p:cNvPr id="57" name="Group 56">
            <a:extLst>
              <a:ext uri="{FF2B5EF4-FFF2-40B4-BE49-F238E27FC236}">
                <a16:creationId xmlns:a16="http://schemas.microsoft.com/office/drawing/2014/main" id="{56A47519-C84D-CD43-A668-588E09BE22EE}"/>
              </a:ext>
            </a:extLst>
          </p:cNvPr>
          <p:cNvGrpSpPr/>
          <p:nvPr/>
        </p:nvGrpSpPr>
        <p:grpSpPr>
          <a:xfrm>
            <a:off x="7674709" y="1750647"/>
            <a:ext cx="2250831" cy="2474911"/>
            <a:chOff x="201775" y="1085967"/>
            <a:chExt cx="2412443" cy="2569853"/>
          </a:xfrm>
        </p:grpSpPr>
        <p:sp>
          <p:nvSpPr>
            <p:cNvPr id="58" name="TextBox 57">
              <a:extLst>
                <a:ext uri="{FF2B5EF4-FFF2-40B4-BE49-F238E27FC236}">
                  <a16:creationId xmlns:a16="http://schemas.microsoft.com/office/drawing/2014/main" id="{C33B7484-33EE-2747-A442-28A61CB52A61}"/>
                </a:ext>
              </a:extLst>
            </p:cNvPr>
            <p:cNvSpPr txBox="1"/>
            <p:nvPr/>
          </p:nvSpPr>
          <p:spPr>
            <a:xfrm>
              <a:off x="474514" y="3048612"/>
              <a:ext cx="1835257" cy="607208"/>
            </a:xfrm>
            <a:prstGeom prst="rect">
              <a:avLst/>
            </a:prstGeom>
            <a:noFill/>
          </p:spPr>
          <p:txBody>
            <a:bodyPr wrap="square" rtlCol="0">
              <a:spAutoFit/>
            </a:bodyPr>
            <a:lstStyle/>
            <a:p>
              <a:pPr algn="ctr"/>
              <a:r>
                <a:rPr lang="en-US" sz="1600" dirty="0">
                  <a:solidFill>
                    <a:schemeClr val="bg1">
                      <a:lumMod val="25000"/>
                    </a:schemeClr>
                  </a:solidFill>
                  <a:latin typeface="Roboto" panose="02000000000000000000" pitchFamily="2" charset="0"/>
                  <a:ea typeface="Roboto" panose="02000000000000000000" pitchFamily="2" charset="0"/>
                  <a:cs typeface="Roboto Light"/>
                </a:rPr>
                <a:t>Big sugar versus your body</a:t>
              </a:r>
            </a:p>
          </p:txBody>
        </p:sp>
        <p:sp>
          <p:nvSpPr>
            <p:cNvPr id="59" name="Title 1">
              <a:extLst>
                <a:ext uri="{FF2B5EF4-FFF2-40B4-BE49-F238E27FC236}">
                  <a16:creationId xmlns:a16="http://schemas.microsoft.com/office/drawing/2014/main" id="{C75CDD9D-AE60-C648-A12E-7ACE75C1A4DA}"/>
                </a:ext>
              </a:extLst>
            </p:cNvPr>
            <p:cNvSpPr txBox="1">
              <a:spLocks/>
            </p:cNvSpPr>
            <p:nvPr/>
          </p:nvSpPr>
          <p:spPr>
            <a:xfrm>
              <a:off x="201775" y="2658142"/>
              <a:ext cx="2412443" cy="390470"/>
            </a:xfrm>
            <a:prstGeom prst="rect">
              <a:avLst/>
            </a:prstGeom>
          </p:spPr>
          <p:txBody>
            <a:bodyPr vert="horz" lIns="121920" tIns="60960" rIns="121920" bIns="60960" rtlCol="0" anchor="ctr">
              <a:noAutofit/>
            </a:bodyPr>
            <a:lstStyle>
              <a:lvl1pPr algn="l" defTabSz="457200" rtl="0" eaLnBrk="1" latinLnBrk="0" hangingPunct="1">
                <a:spcBef>
                  <a:spcPct val="0"/>
                </a:spcBef>
                <a:buNone/>
                <a:defRPr sz="2000" b="1" kern="1200">
                  <a:solidFill>
                    <a:schemeClr val="tx1"/>
                  </a:solidFill>
                  <a:latin typeface="Roboto Light"/>
                  <a:ea typeface="+mj-ea"/>
                  <a:cs typeface="Roboto Light"/>
                </a:defRPr>
              </a:lvl1pPr>
            </a:lstStyle>
            <a:p>
              <a:pPr algn="ctr"/>
              <a:r>
                <a:rPr lang="en-US" sz="1733" dirty="0">
                  <a:solidFill>
                    <a:schemeClr val="bg1">
                      <a:lumMod val="25000"/>
                    </a:schemeClr>
                  </a:solidFill>
                  <a:latin typeface="Roboto" panose="02000000000000000000" pitchFamily="2" charset="0"/>
                  <a:ea typeface="Roboto" panose="02000000000000000000" pitchFamily="2" charset="0"/>
                </a:rPr>
                <a:t>New York Times</a:t>
              </a:r>
            </a:p>
          </p:txBody>
        </p:sp>
        <p:sp>
          <p:nvSpPr>
            <p:cNvPr id="60" name="Rounded Rectangle 59">
              <a:extLst>
                <a:ext uri="{FF2B5EF4-FFF2-40B4-BE49-F238E27FC236}">
                  <a16:creationId xmlns:a16="http://schemas.microsoft.com/office/drawing/2014/main" id="{9E78ACAF-54FC-4A45-8DB7-35DFA1B80EEC}"/>
                </a:ext>
              </a:extLst>
            </p:cNvPr>
            <p:cNvSpPr/>
            <p:nvPr/>
          </p:nvSpPr>
          <p:spPr>
            <a:xfrm>
              <a:off x="466931" y="1085967"/>
              <a:ext cx="1835254" cy="1265971"/>
            </a:xfrm>
            <a:prstGeom prst="roundRect">
              <a:avLst>
                <a:gd name="adj" fmla="val 4119"/>
              </a:avLst>
            </a:prstGeom>
            <a:blipFill dpi="0" rotWithShape="1">
              <a:blip r:embed="rId7"/>
              <a:srcRect/>
              <a:stretch>
                <a:fillRect l="4000" t="4000" r="4000" b="4000"/>
              </a:stretch>
            </a:blipFill>
            <a:ln w="6350">
              <a:solidFill>
                <a:schemeClr val="bg1">
                  <a:lumMod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grpSp>
        <p:nvGrpSpPr>
          <p:cNvPr id="61" name="Group 60">
            <a:extLst>
              <a:ext uri="{FF2B5EF4-FFF2-40B4-BE49-F238E27FC236}">
                <a16:creationId xmlns:a16="http://schemas.microsoft.com/office/drawing/2014/main" id="{8A67CAD1-3499-7C49-90D8-8B219092D2E0}"/>
              </a:ext>
            </a:extLst>
          </p:cNvPr>
          <p:cNvGrpSpPr/>
          <p:nvPr/>
        </p:nvGrpSpPr>
        <p:grpSpPr>
          <a:xfrm>
            <a:off x="9571887" y="1750648"/>
            <a:ext cx="2080991" cy="2721133"/>
            <a:chOff x="311414" y="1085967"/>
            <a:chExt cx="2230410" cy="2825521"/>
          </a:xfrm>
        </p:grpSpPr>
        <p:sp>
          <p:nvSpPr>
            <p:cNvPr id="62" name="TextBox 61">
              <a:extLst>
                <a:ext uri="{FF2B5EF4-FFF2-40B4-BE49-F238E27FC236}">
                  <a16:creationId xmlns:a16="http://schemas.microsoft.com/office/drawing/2014/main" id="{B97C4D74-0E2B-F648-BC8E-613B04E7F375}"/>
                </a:ext>
              </a:extLst>
            </p:cNvPr>
            <p:cNvSpPr txBox="1"/>
            <p:nvPr/>
          </p:nvSpPr>
          <p:spPr>
            <a:xfrm>
              <a:off x="474514" y="3048612"/>
              <a:ext cx="1835257" cy="862876"/>
            </a:xfrm>
            <a:prstGeom prst="rect">
              <a:avLst/>
            </a:prstGeom>
            <a:noFill/>
          </p:spPr>
          <p:txBody>
            <a:bodyPr wrap="square" rtlCol="0">
              <a:spAutoFit/>
            </a:bodyPr>
            <a:lstStyle/>
            <a:p>
              <a:pPr algn="ctr"/>
              <a:r>
                <a:rPr lang="en-US" sz="1600" dirty="0">
                  <a:solidFill>
                    <a:schemeClr val="bg1">
                      <a:lumMod val="25000"/>
                    </a:schemeClr>
                  </a:solidFill>
                  <a:latin typeface="Roboto" panose="02000000000000000000" pitchFamily="2" charset="0"/>
                  <a:ea typeface="Roboto" panose="02000000000000000000" pitchFamily="2" charset="0"/>
                  <a:cs typeface="Roboto Light"/>
                </a:rPr>
                <a:t>Are sugars the new public enemy No. 1?</a:t>
              </a:r>
            </a:p>
          </p:txBody>
        </p:sp>
        <p:sp>
          <p:nvSpPr>
            <p:cNvPr id="63" name="Title 1">
              <a:extLst>
                <a:ext uri="{FF2B5EF4-FFF2-40B4-BE49-F238E27FC236}">
                  <a16:creationId xmlns:a16="http://schemas.microsoft.com/office/drawing/2014/main" id="{5C968D18-0B3B-BF42-8268-0B353598E401}"/>
                </a:ext>
              </a:extLst>
            </p:cNvPr>
            <p:cNvSpPr txBox="1">
              <a:spLocks/>
            </p:cNvSpPr>
            <p:nvPr/>
          </p:nvSpPr>
          <p:spPr>
            <a:xfrm>
              <a:off x="311414" y="2655970"/>
              <a:ext cx="2230410" cy="390470"/>
            </a:xfrm>
            <a:prstGeom prst="rect">
              <a:avLst/>
            </a:prstGeom>
          </p:spPr>
          <p:txBody>
            <a:bodyPr vert="horz" lIns="121920" tIns="60960" rIns="121920" bIns="60960" rtlCol="0" anchor="ctr">
              <a:noAutofit/>
            </a:bodyPr>
            <a:lstStyle>
              <a:lvl1pPr algn="l" defTabSz="457200" rtl="0" eaLnBrk="1" latinLnBrk="0" hangingPunct="1">
                <a:spcBef>
                  <a:spcPct val="0"/>
                </a:spcBef>
                <a:buNone/>
                <a:defRPr sz="2000" b="1" kern="1200">
                  <a:solidFill>
                    <a:schemeClr val="tx1"/>
                  </a:solidFill>
                  <a:latin typeface="Roboto Light"/>
                  <a:ea typeface="+mj-ea"/>
                  <a:cs typeface="Roboto Light"/>
                </a:defRPr>
              </a:lvl1pPr>
            </a:lstStyle>
            <a:p>
              <a:pPr algn="ctr"/>
              <a:r>
                <a:rPr lang="en-US" sz="1733" dirty="0">
                  <a:solidFill>
                    <a:schemeClr val="bg1">
                      <a:lumMod val="25000"/>
                    </a:schemeClr>
                  </a:solidFill>
                  <a:latin typeface="Roboto" panose="02000000000000000000" pitchFamily="2" charset="0"/>
                  <a:ea typeface="Roboto" panose="02000000000000000000" pitchFamily="2" charset="0"/>
                </a:rPr>
                <a:t>Food Processing</a:t>
              </a:r>
            </a:p>
          </p:txBody>
        </p:sp>
        <p:sp>
          <p:nvSpPr>
            <p:cNvPr id="64" name="Rounded Rectangle 63">
              <a:extLst>
                <a:ext uri="{FF2B5EF4-FFF2-40B4-BE49-F238E27FC236}">
                  <a16:creationId xmlns:a16="http://schemas.microsoft.com/office/drawing/2014/main" id="{45C787B5-CA97-EA4C-9BE2-72C3AF3FC1F3}"/>
                </a:ext>
              </a:extLst>
            </p:cNvPr>
            <p:cNvSpPr/>
            <p:nvPr/>
          </p:nvSpPr>
          <p:spPr>
            <a:xfrm>
              <a:off x="466931" y="1085967"/>
              <a:ext cx="1835254" cy="1265971"/>
            </a:xfrm>
            <a:prstGeom prst="roundRect">
              <a:avLst>
                <a:gd name="adj" fmla="val 4119"/>
              </a:avLst>
            </a:prstGeom>
            <a:blipFill dpi="0" rotWithShape="1">
              <a:blip r:embed="rId8">
                <a:extLst>
                  <a:ext uri="{BEBA8EAE-BF5A-486C-A8C5-ECC9F3942E4B}">
                    <a14:imgProps xmlns:a14="http://schemas.microsoft.com/office/drawing/2010/main">
                      <a14:imgLayer r:embed="rId9">
                        <a14:imgEffect>
                          <a14:sharpenSoften amount="3000"/>
                        </a14:imgEffect>
                      </a14:imgLayer>
                    </a14:imgProps>
                  </a:ext>
                </a:extLst>
              </a:blip>
              <a:srcRect/>
              <a:stretch>
                <a:fillRect/>
              </a:stretch>
            </a:blipFill>
            <a:ln w="6350">
              <a:solidFill>
                <a:schemeClr val="bg1">
                  <a:lumMod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spTree>
    <p:extLst>
      <p:ext uri="{BB962C8B-B14F-4D97-AF65-F5344CB8AC3E}">
        <p14:creationId xmlns:p14="http://schemas.microsoft.com/office/powerpoint/2010/main" val="2671675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solidFill>
                  <a:schemeClr val="tx1"/>
                </a:solidFill>
                <a:latin typeface="Roboto Light" panose="02000000000000000000" pitchFamily="2" charset="0"/>
                <a:ea typeface="Roboto Light" panose="02000000000000000000" pitchFamily="2" charset="0"/>
              </a:rPr>
              <a:t>Sugar or beverage taxes around the world</a:t>
            </a:r>
          </a:p>
        </p:txBody>
      </p:sp>
      <p:sp>
        <p:nvSpPr>
          <p:cNvPr id="4" name="Content Placeholder 3"/>
          <p:cNvSpPr>
            <a:spLocks noGrp="1"/>
          </p:cNvSpPr>
          <p:nvPr>
            <p:ph sz="quarter" idx="11"/>
          </p:nvPr>
        </p:nvSpPr>
        <p:spPr>
          <a:xfrm>
            <a:off x="6453619" y="6191647"/>
            <a:ext cx="5169652" cy="226031"/>
          </a:xfrm>
        </p:spPr>
        <p:txBody>
          <a:bodyPr>
            <a:noAutofit/>
          </a:bodyPr>
          <a:lstStyle/>
          <a:p>
            <a:r>
              <a:rPr lang="en-US" dirty="0">
                <a:latin typeface="Arial Nova" panose="020B0504020202020204" pitchFamily="34" charset="0"/>
              </a:rPr>
              <a:t>Denmark repealed 80-year old fat and sugar taxes in 2013 and 2014.</a:t>
            </a:r>
          </a:p>
          <a:p>
            <a:r>
              <a:rPr lang="en-US" dirty="0">
                <a:latin typeface="Arial Nova" panose="020B0504020202020204" pitchFamily="34" charset="0"/>
              </a:rPr>
              <a:t>Malaysia raised sugar pricing instead of setting a beverage tax in 2017.</a:t>
            </a:r>
          </a:p>
          <a:p>
            <a:r>
              <a:rPr lang="en-US" dirty="0">
                <a:latin typeface="Arial Nova" panose="020B0504020202020204" pitchFamily="34" charset="0"/>
              </a:rPr>
              <a:t>Canada’s Northwest Territories have announced plans for a soda tax.</a:t>
            </a:r>
          </a:p>
          <a:p>
            <a:r>
              <a:rPr lang="en-US" dirty="0">
                <a:latin typeface="Arial Nova" panose="020B0504020202020204" pitchFamily="34" charset="0"/>
              </a:rPr>
              <a:t>In Spain, Catalonia has announced a sugar tax.</a:t>
            </a:r>
          </a:p>
        </p:txBody>
      </p:sp>
      <p:graphicFrame>
        <p:nvGraphicFramePr>
          <p:cNvPr id="413" name="Table 412"/>
          <p:cNvGraphicFramePr>
            <a:graphicFrameLocks noGrp="1"/>
          </p:cNvGraphicFramePr>
          <p:nvPr>
            <p:extLst>
              <p:ext uri="{D42A27DB-BD31-4B8C-83A1-F6EECF244321}">
                <p14:modId xmlns:p14="http://schemas.microsoft.com/office/powerpoint/2010/main" val="631290017"/>
              </p:ext>
            </p:extLst>
          </p:nvPr>
        </p:nvGraphicFramePr>
        <p:xfrm>
          <a:off x="4159803" y="5308787"/>
          <a:ext cx="4461493" cy="643866"/>
        </p:xfrm>
        <a:graphic>
          <a:graphicData uri="http://schemas.openxmlformats.org/drawingml/2006/table">
            <a:tbl>
              <a:tblPr firstRow="1" bandRow="1">
                <a:tableStyleId>{5C22544A-7EE6-4342-B048-85BDC9FD1C3A}</a:tableStyleId>
              </a:tblPr>
              <a:tblGrid>
                <a:gridCol w="263196">
                  <a:extLst>
                    <a:ext uri="{9D8B030D-6E8A-4147-A177-3AD203B41FA5}">
                      <a16:colId xmlns:a16="http://schemas.microsoft.com/office/drawing/2014/main" val="20000"/>
                    </a:ext>
                  </a:extLst>
                </a:gridCol>
                <a:gridCol w="4198297">
                  <a:extLst>
                    <a:ext uri="{9D8B030D-6E8A-4147-A177-3AD203B41FA5}">
                      <a16:colId xmlns:a16="http://schemas.microsoft.com/office/drawing/2014/main" val="20001"/>
                    </a:ext>
                  </a:extLst>
                </a:gridCol>
              </a:tblGrid>
              <a:tr h="214620">
                <a:tc>
                  <a:txBody>
                    <a:bodyPr/>
                    <a:lstStyle/>
                    <a:p>
                      <a:endParaRPr lang="en-US" sz="1100" b="0" dirty="0">
                        <a:solidFill>
                          <a:srgbClr val="4E5255"/>
                        </a:solidFill>
                        <a:latin typeface="Arial Nova" panose="020B0504020202020204" pitchFamily="34" charset="0"/>
                        <a:ea typeface="Open Sans Condensed Light" panose="020B0306030504020204" pitchFamily="34" charset="0"/>
                        <a:cs typeface="Open Sans Condensed Light" panose="020B0306030504020204" pitchFamily="34" charset="0"/>
                      </a:endParaRPr>
                    </a:p>
                  </a:txBody>
                  <a:tcPr marL="46980" marR="46980" marT="23491" marB="23491">
                    <a:solidFill>
                      <a:srgbClr val="8EC642"/>
                    </a:solidFill>
                  </a:tcPr>
                </a:tc>
                <a:tc>
                  <a:txBody>
                    <a:bodyPr/>
                    <a:lstStyle/>
                    <a:p>
                      <a:r>
                        <a:rPr lang="en-US" sz="1100" b="0" dirty="0">
                          <a:solidFill>
                            <a:srgbClr val="4E5255"/>
                          </a:solidFill>
                          <a:latin typeface="Arial Nova" panose="020B0504020202020204" pitchFamily="34" charset="0"/>
                          <a:ea typeface="Open Sans Condensed Light" panose="020B0306030504020204" pitchFamily="34" charset="0"/>
                          <a:cs typeface="Open Sans Condensed Light" panose="020B0306030504020204" pitchFamily="34" charset="0"/>
                        </a:rPr>
                        <a:t>Sugar or beverage taxes</a:t>
                      </a:r>
                      <a:r>
                        <a:rPr lang="en-US" sz="1100" b="0" baseline="0" dirty="0">
                          <a:solidFill>
                            <a:srgbClr val="4E5255"/>
                          </a:solidFill>
                          <a:latin typeface="Arial Nova" panose="020B0504020202020204" pitchFamily="34" charset="0"/>
                          <a:ea typeface="Open Sans Condensed Light" panose="020B0306030504020204" pitchFamily="34" charset="0"/>
                          <a:cs typeface="Open Sans Condensed Light" panose="020B0306030504020204" pitchFamily="34" charset="0"/>
                        </a:rPr>
                        <a:t> in place or announced</a:t>
                      </a:r>
                      <a:endParaRPr lang="en-US" sz="1100" b="0" dirty="0">
                        <a:solidFill>
                          <a:srgbClr val="4E5255"/>
                        </a:solidFill>
                        <a:latin typeface="Arial Nova" panose="020B0504020202020204" pitchFamily="34" charset="0"/>
                        <a:ea typeface="Open Sans Condensed Light" panose="020B0306030504020204" pitchFamily="34" charset="0"/>
                        <a:cs typeface="Open Sans Condensed Light" panose="020B0306030504020204" pitchFamily="34" charset="0"/>
                      </a:endParaRPr>
                    </a:p>
                  </a:txBody>
                  <a:tcPr marL="46980" marR="46980" marT="23491" marB="23491">
                    <a:noFill/>
                  </a:tcPr>
                </a:tc>
                <a:extLst>
                  <a:ext uri="{0D108BD9-81ED-4DB2-BD59-A6C34878D82A}">
                    <a16:rowId xmlns:a16="http://schemas.microsoft.com/office/drawing/2014/main" val="10000"/>
                  </a:ext>
                </a:extLst>
              </a:tr>
              <a:tr h="209541">
                <a:tc>
                  <a:txBody>
                    <a:bodyPr/>
                    <a:lstStyle/>
                    <a:p>
                      <a:endParaRPr lang="en-US" sz="1100" b="0" dirty="0">
                        <a:solidFill>
                          <a:srgbClr val="4E5255"/>
                        </a:solidFill>
                        <a:latin typeface="Arial Nova" panose="020B0504020202020204" pitchFamily="34" charset="0"/>
                        <a:ea typeface="Open Sans Condensed Light" panose="020B0306030504020204" pitchFamily="34" charset="0"/>
                        <a:cs typeface="Open Sans Condensed Light" panose="020B0306030504020204" pitchFamily="34" charset="0"/>
                      </a:endParaRPr>
                    </a:p>
                  </a:txBody>
                  <a:tcPr marL="46980" marR="46980" marT="23491" marB="23491">
                    <a:solidFill>
                      <a:srgbClr val="FFC000"/>
                    </a:solidFill>
                  </a:tcPr>
                </a:tc>
                <a:tc>
                  <a:txBody>
                    <a:bodyPr/>
                    <a:lstStyle/>
                    <a:p>
                      <a:r>
                        <a:rPr lang="en-US" sz="1100" b="0" dirty="0">
                          <a:solidFill>
                            <a:srgbClr val="4E5255"/>
                          </a:solidFill>
                          <a:latin typeface="Arial Nova" panose="020B0504020202020204" pitchFamily="34" charset="0"/>
                          <a:ea typeface="Open Sans Condensed Light" panose="020B0306030504020204" pitchFamily="34" charset="0"/>
                          <a:cs typeface="Open Sans Condensed Light" panose="020B0306030504020204" pitchFamily="34" charset="0"/>
                        </a:rPr>
                        <a:t>Regional or local sugar or beverage taxes in place or announced</a:t>
                      </a:r>
                    </a:p>
                  </a:txBody>
                  <a:tcPr marL="46980" marR="46980" marT="23491" marB="23491">
                    <a:noFill/>
                  </a:tcPr>
                </a:tc>
                <a:extLst>
                  <a:ext uri="{0D108BD9-81ED-4DB2-BD59-A6C34878D82A}">
                    <a16:rowId xmlns:a16="http://schemas.microsoft.com/office/drawing/2014/main" val="1091037347"/>
                  </a:ext>
                </a:extLst>
              </a:tr>
              <a:tr h="214620">
                <a:tc>
                  <a:txBody>
                    <a:bodyPr/>
                    <a:lstStyle/>
                    <a:p>
                      <a:endParaRPr lang="en-US" sz="1100" b="0" dirty="0">
                        <a:solidFill>
                          <a:srgbClr val="4E5255"/>
                        </a:solidFill>
                        <a:latin typeface="Arial Nova" panose="020B0504020202020204" pitchFamily="34" charset="0"/>
                        <a:ea typeface="Open Sans Condensed Light" panose="020B0306030504020204" pitchFamily="34" charset="0"/>
                        <a:cs typeface="Open Sans Condensed Light" panose="020B0306030504020204" pitchFamily="34" charset="0"/>
                      </a:endParaRPr>
                    </a:p>
                  </a:txBody>
                  <a:tcPr marL="46980" marR="46980" marT="23491" marB="23491">
                    <a:solidFill>
                      <a:srgbClr val="007298"/>
                    </a:solidFill>
                  </a:tcPr>
                </a:tc>
                <a:tc>
                  <a:txBody>
                    <a:bodyPr/>
                    <a:lstStyle/>
                    <a:p>
                      <a:r>
                        <a:rPr lang="en-US" sz="1100" b="0" dirty="0">
                          <a:solidFill>
                            <a:srgbClr val="4E5255"/>
                          </a:solidFill>
                          <a:latin typeface="Arial Nova" panose="020B0504020202020204" pitchFamily="34" charset="0"/>
                          <a:ea typeface="Open Sans Condensed Light" panose="020B0306030504020204" pitchFamily="34" charset="0"/>
                          <a:cs typeface="Open Sans Condensed Light" panose="020B0306030504020204" pitchFamily="34" charset="0"/>
                        </a:rPr>
                        <a:t>Sugar</a:t>
                      </a:r>
                      <a:r>
                        <a:rPr lang="en-US" sz="1100" b="0" baseline="0" dirty="0">
                          <a:solidFill>
                            <a:srgbClr val="4E5255"/>
                          </a:solidFill>
                          <a:latin typeface="Arial Nova" panose="020B0504020202020204" pitchFamily="34" charset="0"/>
                          <a:ea typeface="Open Sans Condensed Light" panose="020B0306030504020204" pitchFamily="34" charset="0"/>
                          <a:cs typeface="Open Sans Condensed Light" panose="020B0306030504020204" pitchFamily="34" charset="0"/>
                        </a:rPr>
                        <a:t> or beverage taxes under recent consideration</a:t>
                      </a:r>
                      <a:endParaRPr lang="en-US" sz="1100" b="0" dirty="0">
                        <a:solidFill>
                          <a:srgbClr val="4E5255"/>
                        </a:solidFill>
                        <a:latin typeface="Arial Nova" panose="020B0504020202020204" pitchFamily="34" charset="0"/>
                        <a:ea typeface="Open Sans Condensed Light" panose="020B0306030504020204" pitchFamily="34" charset="0"/>
                        <a:cs typeface="Open Sans Condensed Light" panose="020B0306030504020204" pitchFamily="34" charset="0"/>
                      </a:endParaRPr>
                    </a:p>
                  </a:txBody>
                  <a:tcPr marL="46980" marR="46980" marT="23491" marB="23491">
                    <a:noFill/>
                  </a:tcPr>
                </a:tc>
                <a:extLst>
                  <a:ext uri="{0D108BD9-81ED-4DB2-BD59-A6C34878D82A}">
                    <a16:rowId xmlns:a16="http://schemas.microsoft.com/office/drawing/2014/main" val="10001"/>
                  </a:ext>
                </a:extLst>
              </a:tr>
            </a:tbl>
          </a:graphicData>
        </a:graphic>
      </p:graphicFrame>
      <p:grpSp>
        <p:nvGrpSpPr>
          <p:cNvPr id="70" name="Group 69">
            <a:extLst>
              <a:ext uri="{FF2B5EF4-FFF2-40B4-BE49-F238E27FC236}">
                <a16:creationId xmlns:a16="http://schemas.microsoft.com/office/drawing/2014/main" id="{28BBA64E-6394-42A1-9FCB-9DD019CBA392}"/>
              </a:ext>
            </a:extLst>
          </p:cNvPr>
          <p:cNvGrpSpPr/>
          <p:nvPr/>
        </p:nvGrpSpPr>
        <p:grpSpPr>
          <a:xfrm>
            <a:off x="1601112" y="1035863"/>
            <a:ext cx="8989775" cy="4741755"/>
            <a:chOff x="387143" y="767028"/>
            <a:chExt cx="9601771" cy="5380629"/>
          </a:xfrm>
        </p:grpSpPr>
        <p:sp>
          <p:nvSpPr>
            <p:cNvPr id="6" name="Freeform 6"/>
            <p:cNvSpPr>
              <a:spLocks/>
            </p:cNvSpPr>
            <p:nvPr>
              <p:custDataLst>
                <p:tags r:id="rId1"/>
              </p:custDataLst>
            </p:nvPr>
          </p:nvSpPr>
          <p:spPr bwMode="auto">
            <a:xfrm>
              <a:off x="678299" y="1856589"/>
              <a:ext cx="1826434" cy="1018185"/>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FFC000"/>
            </a:solidFill>
            <a:ln w="9525" cmpd="sng">
              <a:solidFill>
                <a:schemeClr val="tx2"/>
              </a:solidFill>
              <a:prstDash val="solid"/>
              <a:round/>
              <a:headEnd/>
              <a:tailEnd/>
            </a:ln>
          </p:spPr>
          <p:txBody>
            <a:bodyPr/>
            <a:lstStyle/>
            <a:p>
              <a:endParaRPr lang="en-US"/>
            </a:p>
          </p:txBody>
        </p:sp>
        <p:sp>
          <p:nvSpPr>
            <p:cNvPr id="7" name="Freeform 7"/>
            <p:cNvSpPr>
              <a:spLocks/>
            </p:cNvSpPr>
            <p:nvPr>
              <p:custDataLst>
                <p:tags r:id="rId2"/>
              </p:custDataLst>
            </p:nvPr>
          </p:nvSpPr>
          <p:spPr bwMode="auto">
            <a:xfrm>
              <a:off x="1780457" y="3907653"/>
              <a:ext cx="449261" cy="780958"/>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8" name="Freeform 8"/>
            <p:cNvSpPr>
              <a:spLocks/>
            </p:cNvSpPr>
            <p:nvPr>
              <p:custDataLst>
                <p:tags r:id="rId3"/>
              </p:custDataLst>
            </p:nvPr>
          </p:nvSpPr>
          <p:spPr bwMode="auto">
            <a:xfrm>
              <a:off x="2177235" y="4652921"/>
              <a:ext cx="346392" cy="1494736"/>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9" name="Freeform 9"/>
            <p:cNvSpPr>
              <a:spLocks/>
            </p:cNvSpPr>
            <p:nvPr>
              <p:custDataLst>
                <p:tags r:id="rId4"/>
              </p:custDataLst>
            </p:nvPr>
          </p:nvSpPr>
          <p:spPr bwMode="auto">
            <a:xfrm>
              <a:off x="2051274" y="3704016"/>
              <a:ext cx="1278503" cy="1591306"/>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0" name="Freeform 10"/>
            <p:cNvSpPr>
              <a:spLocks/>
            </p:cNvSpPr>
            <p:nvPr>
              <p:custDataLst>
                <p:tags r:id="rId5"/>
              </p:custDataLst>
            </p:nvPr>
          </p:nvSpPr>
          <p:spPr bwMode="auto">
            <a:xfrm>
              <a:off x="4845508" y="2310048"/>
              <a:ext cx="92371" cy="65080"/>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11" name="Freeform 11"/>
            <p:cNvSpPr>
              <a:spLocks/>
            </p:cNvSpPr>
            <p:nvPr>
              <p:custDataLst>
                <p:tags r:id="rId6"/>
              </p:custDataLst>
            </p:nvPr>
          </p:nvSpPr>
          <p:spPr bwMode="auto">
            <a:xfrm>
              <a:off x="4182113" y="2144200"/>
              <a:ext cx="109166" cy="212034"/>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12" name="Freeform 12"/>
            <p:cNvSpPr>
              <a:spLocks/>
            </p:cNvSpPr>
            <p:nvPr>
              <p:custDataLst>
                <p:tags r:id="rId7"/>
              </p:custDataLst>
            </p:nvPr>
          </p:nvSpPr>
          <p:spPr bwMode="auto">
            <a:xfrm>
              <a:off x="4289181" y="1464011"/>
              <a:ext cx="226730" cy="356889"/>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94D60A"/>
            </a:solidFill>
            <a:ln w="9525" cmpd="sng">
              <a:solidFill>
                <a:schemeClr val="tx2"/>
              </a:solidFill>
              <a:prstDash val="solid"/>
              <a:round/>
              <a:headEnd/>
              <a:tailEnd/>
            </a:ln>
          </p:spPr>
          <p:txBody>
            <a:bodyPr/>
            <a:lstStyle/>
            <a:p>
              <a:endParaRPr lang="en-US"/>
            </a:p>
          </p:txBody>
        </p:sp>
        <p:sp>
          <p:nvSpPr>
            <p:cNvPr id="13" name="Freeform 13"/>
            <p:cNvSpPr>
              <a:spLocks/>
            </p:cNvSpPr>
            <p:nvPr>
              <p:custDataLst>
                <p:tags r:id="rId8"/>
              </p:custDataLst>
            </p:nvPr>
          </p:nvSpPr>
          <p:spPr bwMode="auto">
            <a:xfrm>
              <a:off x="4763634" y="1864986"/>
              <a:ext cx="224630" cy="100769"/>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4" name="Freeform 14"/>
            <p:cNvSpPr>
              <a:spLocks/>
            </p:cNvSpPr>
            <p:nvPr>
              <p:custDataLst>
                <p:tags r:id="rId9"/>
              </p:custDataLst>
            </p:nvPr>
          </p:nvSpPr>
          <p:spPr bwMode="auto">
            <a:xfrm>
              <a:off x="6737022" y="1665549"/>
              <a:ext cx="1694174" cy="1372974"/>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noFill/>
            <a:ln w="9525" cmpd="sng">
              <a:solidFill>
                <a:schemeClr val="tx2"/>
              </a:solidFill>
              <a:prstDash val="solid"/>
              <a:round/>
              <a:headEnd/>
              <a:tailEnd/>
            </a:ln>
          </p:spPr>
          <p:txBody>
            <a:bodyPr/>
            <a:lstStyle/>
            <a:p>
              <a:endParaRPr lang="en-US"/>
            </a:p>
          </p:txBody>
        </p:sp>
        <p:sp>
          <p:nvSpPr>
            <p:cNvPr id="15" name="Freeform 15"/>
            <p:cNvSpPr>
              <a:spLocks/>
            </p:cNvSpPr>
            <p:nvPr>
              <p:custDataLst>
                <p:tags r:id="rId10"/>
              </p:custDataLst>
            </p:nvPr>
          </p:nvSpPr>
          <p:spPr bwMode="auto">
            <a:xfrm>
              <a:off x="5007158" y="1058836"/>
              <a:ext cx="291809" cy="361088"/>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6" name="Freeform 16"/>
            <p:cNvSpPr>
              <a:spLocks/>
            </p:cNvSpPr>
            <p:nvPr>
              <p:custDataLst>
                <p:tags r:id="rId11"/>
              </p:custDataLst>
            </p:nvPr>
          </p:nvSpPr>
          <p:spPr bwMode="auto">
            <a:xfrm>
              <a:off x="4658666" y="1610966"/>
              <a:ext cx="241425" cy="314902"/>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298"/>
            </a:solidFill>
            <a:ln w="9525" cmpd="sng">
              <a:solidFill>
                <a:schemeClr val="tx2"/>
              </a:solidFill>
              <a:prstDash val="solid"/>
              <a:round/>
              <a:headEnd/>
              <a:tailEnd/>
            </a:ln>
          </p:spPr>
          <p:txBody>
            <a:bodyPr/>
            <a:lstStyle/>
            <a:p>
              <a:endParaRPr lang="en-US"/>
            </a:p>
          </p:txBody>
        </p:sp>
        <p:sp>
          <p:nvSpPr>
            <p:cNvPr id="17" name="Freeform 17"/>
            <p:cNvSpPr>
              <a:spLocks/>
            </p:cNvSpPr>
            <p:nvPr>
              <p:custDataLst>
                <p:tags r:id="rId12"/>
              </p:custDataLst>
            </p:nvPr>
          </p:nvSpPr>
          <p:spPr bwMode="auto">
            <a:xfrm>
              <a:off x="4692256" y="1951060"/>
              <a:ext cx="331697" cy="36318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18" name="Freeform 18"/>
            <p:cNvSpPr>
              <a:spLocks/>
            </p:cNvSpPr>
            <p:nvPr>
              <p:custDataLst>
                <p:tags r:id="rId13"/>
              </p:custDataLst>
            </p:nvPr>
          </p:nvSpPr>
          <p:spPr bwMode="auto">
            <a:xfrm>
              <a:off x="4715348" y="2173591"/>
              <a:ext cx="44087" cy="109166"/>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grpSp>
          <p:nvGrpSpPr>
            <p:cNvPr id="19" name="Group 19"/>
            <p:cNvGrpSpPr>
              <a:grpSpLocks/>
            </p:cNvGrpSpPr>
            <p:nvPr>
              <p:custDataLst>
                <p:tags r:id="rId14"/>
              </p:custDataLst>
            </p:nvPr>
          </p:nvGrpSpPr>
          <p:grpSpPr bwMode="auto">
            <a:xfrm>
              <a:off x="7782498" y="3575956"/>
              <a:ext cx="625606" cy="281313"/>
              <a:chOff x="4488" y="2394"/>
              <a:chExt cx="358" cy="124"/>
            </a:xfrm>
            <a:noFill/>
          </p:grpSpPr>
          <p:sp>
            <p:nvSpPr>
              <p:cNvPr id="20"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21"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grpSp>
        <p:sp>
          <p:nvSpPr>
            <p:cNvPr id="22" name="Freeform 22"/>
            <p:cNvSpPr>
              <a:spLocks/>
            </p:cNvSpPr>
            <p:nvPr>
              <p:custDataLst>
                <p:tags r:id="rId15"/>
              </p:custDataLst>
            </p:nvPr>
          </p:nvSpPr>
          <p:spPr bwMode="auto">
            <a:xfrm>
              <a:off x="5166709" y="767028"/>
              <a:ext cx="4053843" cy="1421258"/>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3" name="Freeform 23"/>
            <p:cNvSpPr>
              <a:spLocks/>
            </p:cNvSpPr>
            <p:nvPr>
              <p:custDataLst>
                <p:tags r:id="rId16"/>
              </p:custDataLst>
            </p:nvPr>
          </p:nvSpPr>
          <p:spPr bwMode="auto">
            <a:xfrm>
              <a:off x="4192611" y="2072822"/>
              <a:ext cx="371584" cy="327498"/>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FFC000"/>
            </a:solidFill>
            <a:ln w="9525" cap="flat" cmpd="sng">
              <a:solidFill>
                <a:schemeClr val="tx2"/>
              </a:solidFill>
              <a:prstDash val="solid"/>
              <a:round/>
              <a:headEnd type="none" w="med" len="med"/>
              <a:tailEnd type="none" w="med" len="med"/>
            </a:ln>
            <a:effectLst/>
          </p:spPr>
          <p:txBody>
            <a:bodyPr/>
            <a:lstStyle/>
            <a:p>
              <a:endParaRPr lang="en-US"/>
            </a:p>
          </p:txBody>
        </p:sp>
        <p:sp>
          <p:nvSpPr>
            <p:cNvPr id="24" name="Freeform 24"/>
            <p:cNvSpPr>
              <a:spLocks/>
            </p:cNvSpPr>
            <p:nvPr>
              <p:custDataLst>
                <p:tags r:id="rId17"/>
              </p:custDataLst>
            </p:nvPr>
          </p:nvSpPr>
          <p:spPr bwMode="auto">
            <a:xfrm>
              <a:off x="7673332" y="3049019"/>
              <a:ext cx="275014" cy="602514"/>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25" name="Freeform 29"/>
            <p:cNvSpPr>
              <a:spLocks/>
            </p:cNvSpPr>
            <p:nvPr>
              <p:custDataLst>
                <p:tags r:id="rId18"/>
              </p:custDataLst>
            </p:nvPr>
          </p:nvSpPr>
          <p:spPr bwMode="auto">
            <a:xfrm>
              <a:off x="2219222" y="2196683"/>
              <a:ext cx="65079" cy="75577"/>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noFill/>
            <a:ln w="9525" cmpd="sng">
              <a:solidFill>
                <a:schemeClr val="tx2"/>
              </a:solidFill>
              <a:prstDash val="solid"/>
              <a:round/>
              <a:headEnd/>
              <a:tailEnd/>
            </a:ln>
          </p:spPr>
          <p:txBody>
            <a:bodyPr/>
            <a:lstStyle/>
            <a:p>
              <a:endParaRPr lang="en-US"/>
            </a:p>
          </p:txBody>
        </p:sp>
        <p:sp>
          <p:nvSpPr>
            <p:cNvPr id="26" name="Freeform 30"/>
            <p:cNvSpPr>
              <a:spLocks/>
            </p:cNvSpPr>
            <p:nvPr>
              <p:custDataLst>
                <p:tags r:id="rId19"/>
              </p:custDataLst>
            </p:nvPr>
          </p:nvSpPr>
          <p:spPr bwMode="auto">
            <a:xfrm>
              <a:off x="5840599" y="1610966"/>
              <a:ext cx="1156742" cy="598314"/>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noFill/>
            <a:ln w="9525" cmpd="sng">
              <a:solidFill>
                <a:schemeClr val="tx2"/>
              </a:solidFill>
              <a:prstDash val="solid"/>
              <a:round/>
              <a:headEnd/>
              <a:tailEnd/>
            </a:ln>
          </p:spPr>
          <p:txBody>
            <a:bodyPr/>
            <a:lstStyle/>
            <a:p>
              <a:endParaRPr lang="en-US"/>
            </a:p>
          </p:txBody>
        </p:sp>
        <p:sp>
          <p:nvSpPr>
            <p:cNvPr id="27" name="Freeform 31"/>
            <p:cNvSpPr>
              <a:spLocks/>
            </p:cNvSpPr>
            <p:nvPr>
              <p:custDataLst>
                <p:tags r:id="rId20"/>
              </p:custDataLst>
            </p:nvPr>
          </p:nvSpPr>
          <p:spPr bwMode="auto">
            <a:xfrm>
              <a:off x="6145006" y="2011941"/>
              <a:ext cx="541632" cy="32959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noFill/>
            <a:ln w="9525" cmpd="sng">
              <a:solidFill>
                <a:schemeClr val="tx2"/>
              </a:solidFill>
              <a:prstDash val="solid"/>
              <a:round/>
              <a:headEnd/>
              <a:tailEnd/>
            </a:ln>
          </p:spPr>
          <p:txBody>
            <a:bodyPr/>
            <a:lstStyle/>
            <a:p>
              <a:endParaRPr lang="en-US"/>
            </a:p>
          </p:txBody>
        </p:sp>
        <p:sp>
          <p:nvSpPr>
            <p:cNvPr id="28" name="Freeform 32"/>
            <p:cNvSpPr>
              <a:spLocks/>
            </p:cNvSpPr>
            <p:nvPr>
              <p:custDataLst>
                <p:tags r:id="rId21"/>
              </p:custDataLst>
            </p:nvPr>
          </p:nvSpPr>
          <p:spPr bwMode="auto">
            <a:xfrm>
              <a:off x="4568393" y="3338729"/>
              <a:ext cx="392579" cy="382081"/>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noFill/>
            <a:ln w="9525" cmpd="sng">
              <a:solidFill>
                <a:schemeClr val="tx2"/>
              </a:solidFill>
              <a:prstDash val="solid"/>
              <a:round/>
              <a:headEnd/>
              <a:tailEnd/>
            </a:ln>
          </p:spPr>
          <p:txBody>
            <a:bodyPr/>
            <a:lstStyle/>
            <a:p>
              <a:endParaRPr lang="en-US"/>
            </a:p>
          </p:txBody>
        </p:sp>
        <p:sp>
          <p:nvSpPr>
            <p:cNvPr id="29" name="Freeform 33"/>
            <p:cNvSpPr>
              <a:spLocks/>
            </p:cNvSpPr>
            <p:nvPr>
              <p:custDataLst>
                <p:tags r:id="rId22"/>
              </p:custDataLst>
            </p:nvPr>
          </p:nvSpPr>
          <p:spPr bwMode="auto">
            <a:xfrm>
              <a:off x="5683149" y="3160285"/>
              <a:ext cx="201538" cy="224630"/>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noFill/>
            <a:ln w="9525" cmpd="sng">
              <a:solidFill>
                <a:schemeClr val="tx2"/>
              </a:solidFill>
              <a:prstDash val="solid"/>
              <a:round/>
              <a:headEnd/>
              <a:tailEnd/>
            </a:ln>
          </p:spPr>
          <p:txBody>
            <a:bodyPr/>
            <a:lstStyle/>
            <a:p>
              <a:endParaRPr lang="en-US"/>
            </a:p>
          </p:txBody>
        </p:sp>
        <p:sp>
          <p:nvSpPr>
            <p:cNvPr id="30" name="Freeform 34"/>
            <p:cNvSpPr>
              <a:spLocks/>
            </p:cNvSpPr>
            <p:nvPr>
              <p:custDataLst>
                <p:tags r:id="rId23"/>
              </p:custDataLst>
            </p:nvPr>
          </p:nvSpPr>
          <p:spPr bwMode="auto">
            <a:xfrm>
              <a:off x="4971469" y="1843993"/>
              <a:ext cx="165849" cy="75577"/>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1" name="Freeform 35"/>
            <p:cNvSpPr>
              <a:spLocks/>
            </p:cNvSpPr>
            <p:nvPr>
              <p:custDataLst>
                <p:tags r:id="rId24"/>
              </p:custDataLst>
            </p:nvPr>
          </p:nvSpPr>
          <p:spPr bwMode="auto">
            <a:xfrm>
              <a:off x="6113515" y="2797097"/>
              <a:ext cx="25192" cy="75577"/>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32" name="Freeform 36"/>
            <p:cNvSpPr>
              <a:spLocks/>
            </p:cNvSpPr>
            <p:nvPr>
              <p:custDataLst>
                <p:tags r:id="rId25"/>
              </p:custDataLst>
            </p:nvPr>
          </p:nvSpPr>
          <p:spPr bwMode="auto">
            <a:xfrm>
              <a:off x="6270967" y="2803396"/>
              <a:ext cx="18893" cy="75577"/>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noFill/>
            <a:ln w="9525" cmpd="sng">
              <a:solidFill>
                <a:schemeClr val="tx2"/>
              </a:solidFill>
              <a:prstDash val="solid"/>
              <a:round/>
              <a:headEnd/>
              <a:tailEnd/>
            </a:ln>
          </p:spPr>
          <p:txBody>
            <a:bodyPr/>
            <a:lstStyle/>
            <a:p>
              <a:endParaRPr lang="en-US"/>
            </a:p>
          </p:txBody>
        </p:sp>
        <p:sp>
          <p:nvSpPr>
            <p:cNvPr id="33" name="Freeform 37"/>
            <p:cNvSpPr>
              <a:spLocks/>
            </p:cNvSpPr>
            <p:nvPr>
              <p:custDataLst>
                <p:tags r:id="rId26"/>
              </p:custDataLst>
            </p:nvPr>
          </p:nvSpPr>
          <p:spPr bwMode="auto">
            <a:xfrm>
              <a:off x="8238056" y="3676725"/>
              <a:ext cx="58782" cy="75577"/>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34" name="Freeform 41"/>
            <p:cNvSpPr>
              <a:spLocks/>
            </p:cNvSpPr>
            <p:nvPr>
              <p:custDataLst>
                <p:tags r:id="rId27"/>
              </p:custDataLst>
            </p:nvPr>
          </p:nvSpPr>
          <p:spPr bwMode="auto">
            <a:xfrm>
              <a:off x="2286401" y="3151888"/>
              <a:ext cx="41987" cy="77675"/>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noFill/>
            <a:ln w="9525" cmpd="sng">
              <a:solidFill>
                <a:schemeClr val="tx2"/>
              </a:solidFill>
              <a:prstDash val="solid"/>
              <a:round/>
              <a:headEnd/>
              <a:tailEnd/>
            </a:ln>
          </p:spPr>
          <p:txBody>
            <a:bodyPr/>
            <a:lstStyle/>
            <a:p>
              <a:endParaRPr lang="en-US"/>
            </a:p>
          </p:txBody>
        </p:sp>
        <p:sp>
          <p:nvSpPr>
            <p:cNvPr id="35" name="Freeform 42"/>
            <p:cNvSpPr>
              <a:spLocks/>
            </p:cNvSpPr>
            <p:nvPr>
              <p:custDataLst>
                <p:tags r:id="rId28"/>
              </p:custDataLst>
            </p:nvPr>
          </p:nvSpPr>
          <p:spPr bwMode="auto">
            <a:xfrm>
              <a:off x="2359878" y="3160285"/>
              <a:ext cx="2100" cy="77675"/>
            </a:xfrm>
            <a:custGeom>
              <a:avLst/>
              <a:gdLst/>
              <a:ahLst/>
              <a:cxnLst>
                <a:cxn ang="0">
                  <a:pos x="0" y="0"/>
                </a:cxn>
                <a:cxn ang="0">
                  <a:pos x="7" y="13"/>
                </a:cxn>
                <a:cxn ang="0">
                  <a:pos x="7" y="7"/>
                </a:cxn>
              </a:cxnLst>
              <a:rect l="0" t="0" r="r" b="b"/>
              <a:pathLst>
                <a:path w="7" h="13">
                  <a:moveTo>
                    <a:pt x="0" y="0"/>
                  </a:moveTo>
                  <a:lnTo>
                    <a:pt x="7" y="13"/>
                  </a:lnTo>
                  <a:lnTo>
                    <a:pt x="7" y="7"/>
                  </a:lnTo>
                </a:path>
              </a:pathLst>
            </a:custGeom>
            <a:noFill/>
            <a:ln w="9525" cmpd="sng">
              <a:solidFill>
                <a:schemeClr val="tx2"/>
              </a:solidFill>
              <a:prstDash val="solid"/>
              <a:round/>
              <a:headEnd/>
              <a:tailEnd/>
            </a:ln>
          </p:spPr>
          <p:txBody>
            <a:bodyPr/>
            <a:lstStyle/>
            <a:p>
              <a:endParaRPr lang="en-US"/>
            </a:p>
          </p:txBody>
        </p:sp>
        <p:sp>
          <p:nvSpPr>
            <p:cNvPr id="36" name="Freeform 43"/>
            <p:cNvSpPr>
              <a:spLocks/>
            </p:cNvSpPr>
            <p:nvPr>
              <p:custDataLst>
                <p:tags r:id="rId29"/>
              </p:custDataLst>
            </p:nvPr>
          </p:nvSpPr>
          <p:spPr bwMode="auto">
            <a:xfrm>
              <a:off x="2376673" y="3162384"/>
              <a:ext cx="8397" cy="77677"/>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noFill/>
            <a:ln w="9525" cmpd="sng">
              <a:solidFill>
                <a:schemeClr val="tx2"/>
              </a:solidFill>
              <a:prstDash val="solid"/>
              <a:round/>
              <a:headEnd/>
              <a:tailEnd/>
            </a:ln>
          </p:spPr>
          <p:txBody>
            <a:bodyPr/>
            <a:lstStyle/>
            <a:p>
              <a:endParaRPr lang="en-US"/>
            </a:p>
          </p:txBody>
        </p:sp>
        <p:sp>
          <p:nvSpPr>
            <p:cNvPr id="37" name="Freeform 44"/>
            <p:cNvSpPr>
              <a:spLocks/>
            </p:cNvSpPr>
            <p:nvPr>
              <p:custDataLst>
                <p:tags r:id="rId30"/>
              </p:custDataLst>
            </p:nvPr>
          </p:nvSpPr>
          <p:spPr bwMode="auto">
            <a:xfrm>
              <a:off x="2395567" y="3149788"/>
              <a:ext cx="10496" cy="75577"/>
            </a:xfrm>
            <a:custGeom>
              <a:avLst/>
              <a:gdLst/>
              <a:ahLst/>
              <a:cxnLst>
                <a:cxn ang="0">
                  <a:pos x="0" y="12"/>
                </a:cxn>
                <a:cxn ang="0">
                  <a:pos x="14" y="0"/>
                </a:cxn>
                <a:cxn ang="0">
                  <a:pos x="0" y="12"/>
                </a:cxn>
              </a:cxnLst>
              <a:rect l="0" t="0" r="r" b="b"/>
              <a:pathLst>
                <a:path w="14" h="12">
                  <a:moveTo>
                    <a:pt x="0" y="12"/>
                  </a:moveTo>
                  <a:lnTo>
                    <a:pt x="14" y="0"/>
                  </a:lnTo>
                  <a:lnTo>
                    <a:pt x="0" y="12"/>
                  </a:lnTo>
                </a:path>
              </a:pathLst>
            </a:custGeom>
            <a:noFill/>
            <a:ln w="9525" cmpd="sng">
              <a:solidFill>
                <a:schemeClr val="tx2"/>
              </a:solidFill>
              <a:prstDash val="solid"/>
              <a:round/>
              <a:headEnd/>
              <a:tailEnd/>
            </a:ln>
          </p:spPr>
          <p:txBody>
            <a:bodyPr/>
            <a:lstStyle/>
            <a:p>
              <a:endParaRPr lang="en-US"/>
            </a:p>
          </p:txBody>
        </p:sp>
        <p:sp>
          <p:nvSpPr>
            <p:cNvPr id="38" name="Freeform 45"/>
            <p:cNvSpPr>
              <a:spLocks/>
            </p:cNvSpPr>
            <p:nvPr>
              <p:custDataLst>
                <p:tags r:id="rId31"/>
              </p:custDataLst>
            </p:nvPr>
          </p:nvSpPr>
          <p:spPr bwMode="auto">
            <a:xfrm>
              <a:off x="2368275" y="3139292"/>
              <a:ext cx="14696" cy="77675"/>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noFill/>
            <a:ln w="9525" cmpd="sng">
              <a:solidFill>
                <a:schemeClr val="tx2"/>
              </a:solidFill>
              <a:prstDash val="solid"/>
              <a:round/>
              <a:headEnd/>
              <a:tailEnd/>
            </a:ln>
          </p:spPr>
          <p:txBody>
            <a:bodyPr/>
            <a:lstStyle/>
            <a:p>
              <a:endParaRPr lang="en-US"/>
            </a:p>
          </p:txBody>
        </p:sp>
        <p:sp>
          <p:nvSpPr>
            <p:cNvPr id="39" name="Freeform 46"/>
            <p:cNvSpPr>
              <a:spLocks/>
            </p:cNvSpPr>
            <p:nvPr>
              <p:custDataLst>
                <p:tags r:id="rId32"/>
              </p:custDataLst>
            </p:nvPr>
          </p:nvSpPr>
          <p:spPr bwMode="auto">
            <a:xfrm>
              <a:off x="2433356" y="3177080"/>
              <a:ext cx="18893" cy="79775"/>
            </a:xfrm>
            <a:custGeom>
              <a:avLst/>
              <a:gdLst/>
              <a:ahLst/>
              <a:cxnLst>
                <a:cxn ang="0">
                  <a:pos x="0" y="0"/>
                </a:cxn>
                <a:cxn ang="0">
                  <a:pos x="11" y="3"/>
                </a:cxn>
                <a:cxn ang="0">
                  <a:pos x="27" y="6"/>
                </a:cxn>
              </a:cxnLst>
              <a:rect l="0" t="0" r="r" b="b"/>
              <a:pathLst>
                <a:path w="27" h="6">
                  <a:moveTo>
                    <a:pt x="0" y="0"/>
                  </a:moveTo>
                  <a:lnTo>
                    <a:pt x="11" y="3"/>
                  </a:lnTo>
                  <a:lnTo>
                    <a:pt x="27" y="6"/>
                  </a:lnTo>
                </a:path>
              </a:pathLst>
            </a:custGeom>
            <a:noFill/>
            <a:ln w="9525" cmpd="sng">
              <a:solidFill>
                <a:schemeClr val="tx2"/>
              </a:solidFill>
              <a:prstDash val="solid"/>
              <a:round/>
              <a:headEnd/>
              <a:tailEnd/>
            </a:ln>
          </p:spPr>
          <p:txBody>
            <a:bodyPr/>
            <a:lstStyle/>
            <a:p>
              <a:endParaRPr lang="en-US"/>
            </a:p>
          </p:txBody>
        </p:sp>
        <p:sp>
          <p:nvSpPr>
            <p:cNvPr id="40" name="Line 47"/>
            <p:cNvSpPr>
              <a:spLocks noChangeShapeType="1"/>
            </p:cNvSpPr>
            <p:nvPr>
              <p:custDataLst>
                <p:tags r:id="rId33"/>
              </p:custDataLst>
            </p:nvPr>
          </p:nvSpPr>
          <p:spPr bwMode="auto">
            <a:xfrm flipH="1" flipV="1">
              <a:off x="2443852" y="3172881"/>
              <a:ext cx="8397" cy="12596"/>
            </a:xfrm>
            <a:prstGeom prst="line">
              <a:avLst/>
            </a:prstGeom>
            <a:noFill/>
            <a:ln w="9525">
              <a:solidFill>
                <a:schemeClr val="tx2"/>
              </a:solidFill>
              <a:round/>
              <a:headEnd/>
              <a:tailEnd/>
            </a:ln>
          </p:spPr>
          <p:txBody>
            <a:bodyPr/>
            <a:lstStyle/>
            <a:p>
              <a:endParaRPr lang="en-US"/>
            </a:p>
          </p:txBody>
        </p:sp>
        <p:sp>
          <p:nvSpPr>
            <p:cNvPr id="41" name="Line 48"/>
            <p:cNvSpPr>
              <a:spLocks noChangeShapeType="1"/>
            </p:cNvSpPr>
            <p:nvPr>
              <p:custDataLst>
                <p:tags r:id="rId34"/>
              </p:custDataLst>
            </p:nvPr>
          </p:nvSpPr>
          <p:spPr bwMode="auto">
            <a:xfrm flipH="1">
              <a:off x="2443852" y="3206471"/>
              <a:ext cx="8397" cy="14695"/>
            </a:xfrm>
            <a:prstGeom prst="line">
              <a:avLst/>
            </a:prstGeom>
            <a:noFill/>
            <a:ln w="9525">
              <a:solidFill>
                <a:schemeClr val="tx2"/>
              </a:solidFill>
              <a:round/>
              <a:headEnd/>
              <a:tailEnd/>
            </a:ln>
          </p:spPr>
          <p:txBody>
            <a:bodyPr/>
            <a:lstStyle/>
            <a:p>
              <a:endParaRPr lang="en-US"/>
            </a:p>
          </p:txBody>
        </p:sp>
        <p:sp>
          <p:nvSpPr>
            <p:cNvPr id="42" name="Freeform 49"/>
            <p:cNvSpPr>
              <a:spLocks/>
            </p:cNvSpPr>
            <p:nvPr>
              <p:custDataLst>
                <p:tags r:id="rId35"/>
              </p:custDataLst>
            </p:nvPr>
          </p:nvSpPr>
          <p:spPr bwMode="auto">
            <a:xfrm>
              <a:off x="2443852" y="3200172"/>
              <a:ext cx="14696" cy="77677"/>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noFill/>
            <a:ln w="9525" cmpd="sng">
              <a:solidFill>
                <a:schemeClr val="tx2"/>
              </a:solidFill>
              <a:prstDash val="solid"/>
              <a:round/>
              <a:headEnd/>
              <a:tailEnd/>
            </a:ln>
          </p:spPr>
          <p:txBody>
            <a:bodyPr/>
            <a:lstStyle/>
            <a:p>
              <a:endParaRPr lang="en-US"/>
            </a:p>
          </p:txBody>
        </p:sp>
        <p:sp>
          <p:nvSpPr>
            <p:cNvPr id="43" name="Freeform 50"/>
            <p:cNvSpPr>
              <a:spLocks/>
            </p:cNvSpPr>
            <p:nvPr>
              <p:custDataLst>
                <p:tags r:id="rId36"/>
              </p:custDataLst>
            </p:nvPr>
          </p:nvSpPr>
          <p:spPr bwMode="auto">
            <a:xfrm>
              <a:off x="2452249" y="3237960"/>
              <a:ext cx="23094" cy="73478"/>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noFill/>
            <a:ln w="9525" cmpd="sng">
              <a:solidFill>
                <a:schemeClr val="tx2"/>
              </a:solidFill>
              <a:prstDash val="solid"/>
              <a:round/>
              <a:headEnd/>
              <a:tailEnd/>
            </a:ln>
          </p:spPr>
          <p:txBody>
            <a:bodyPr/>
            <a:lstStyle/>
            <a:p>
              <a:endParaRPr lang="en-US"/>
            </a:p>
          </p:txBody>
        </p:sp>
        <p:sp>
          <p:nvSpPr>
            <p:cNvPr id="44" name="Freeform 51"/>
            <p:cNvSpPr>
              <a:spLocks/>
            </p:cNvSpPr>
            <p:nvPr>
              <p:custDataLst>
                <p:tags r:id="rId37"/>
              </p:custDataLst>
            </p:nvPr>
          </p:nvSpPr>
          <p:spPr bwMode="auto">
            <a:xfrm>
              <a:off x="2460646" y="3300941"/>
              <a:ext cx="20993" cy="75577"/>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noFill/>
            <a:ln w="9525" cmpd="sng">
              <a:solidFill>
                <a:schemeClr val="tx2"/>
              </a:solidFill>
              <a:prstDash val="solid"/>
              <a:round/>
              <a:headEnd/>
              <a:tailEnd/>
            </a:ln>
          </p:spPr>
          <p:txBody>
            <a:bodyPr/>
            <a:lstStyle/>
            <a:p>
              <a:endParaRPr lang="en-US"/>
            </a:p>
          </p:txBody>
        </p:sp>
        <p:sp>
          <p:nvSpPr>
            <p:cNvPr id="45" name="Freeform 52"/>
            <p:cNvSpPr>
              <a:spLocks/>
            </p:cNvSpPr>
            <p:nvPr>
              <p:custDataLst>
                <p:tags r:id="rId38"/>
              </p:custDataLst>
            </p:nvPr>
          </p:nvSpPr>
          <p:spPr bwMode="auto">
            <a:xfrm>
              <a:off x="2473243" y="3334530"/>
              <a:ext cx="4199" cy="75577"/>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noFill/>
            <a:ln w="9525" cmpd="sng">
              <a:solidFill>
                <a:schemeClr val="tx2"/>
              </a:solidFill>
              <a:prstDash val="solid"/>
              <a:round/>
              <a:headEnd/>
              <a:tailEnd/>
            </a:ln>
          </p:spPr>
          <p:txBody>
            <a:bodyPr/>
            <a:lstStyle/>
            <a:p>
              <a:endParaRPr lang="en-US"/>
            </a:p>
          </p:txBody>
        </p:sp>
        <p:sp>
          <p:nvSpPr>
            <p:cNvPr id="46" name="Freeform 53"/>
            <p:cNvSpPr>
              <a:spLocks/>
            </p:cNvSpPr>
            <p:nvPr>
              <p:custDataLst>
                <p:tags r:id="rId39"/>
              </p:custDataLst>
            </p:nvPr>
          </p:nvSpPr>
          <p:spPr bwMode="auto">
            <a:xfrm>
              <a:off x="2502633" y="3374419"/>
              <a:ext cx="47004" cy="56681"/>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47" name="Freeform 54"/>
            <p:cNvSpPr>
              <a:spLocks/>
            </p:cNvSpPr>
            <p:nvPr>
              <p:custDataLst>
                <p:tags r:id="rId40"/>
              </p:custDataLst>
            </p:nvPr>
          </p:nvSpPr>
          <p:spPr bwMode="auto">
            <a:xfrm>
              <a:off x="2452249" y="3391213"/>
              <a:ext cx="20993" cy="77675"/>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noFill/>
            <a:ln w="9525" cmpd="sng">
              <a:solidFill>
                <a:schemeClr val="tx2"/>
              </a:solidFill>
              <a:prstDash val="solid"/>
              <a:round/>
              <a:headEnd/>
              <a:tailEnd/>
            </a:ln>
          </p:spPr>
          <p:txBody>
            <a:bodyPr/>
            <a:lstStyle/>
            <a:p>
              <a:endParaRPr lang="en-US"/>
            </a:p>
          </p:txBody>
        </p:sp>
        <p:sp>
          <p:nvSpPr>
            <p:cNvPr id="48" name="Freeform 55"/>
            <p:cNvSpPr>
              <a:spLocks/>
            </p:cNvSpPr>
            <p:nvPr>
              <p:custDataLst>
                <p:tags r:id="rId41"/>
              </p:custDataLst>
            </p:nvPr>
          </p:nvSpPr>
          <p:spPr bwMode="auto">
            <a:xfrm>
              <a:off x="2433356" y="3477286"/>
              <a:ext cx="31490" cy="75577"/>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noFill/>
            <a:ln w="9525" cmpd="sng">
              <a:solidFill>
                <a:schemeClr val="tx2"/>
              </a:solidFill>
              <a:prstDash val="solid"/>
              <a:round/>
              <a:headEnd/>
              <a:tailEnd/>
            </a:ln>
          </p:spPr>
          <p:txBody>
            <a:bodyPr/>
            <a:lstStyle/>
            <a:p>
              <a:endParaRPr lang="en-US"/>
            </a:p>
          </p:txBody>
        </p:sp>
        <p:sp>
          <p:nvSpPr>
            <p:cNvPr id="49" name="Freeform 56"/>
            <p:cNvSpPr>
              <a:spLocks/>
            </p:cNvSpPr>
            <p:nvPr>
              <p:custDataLst>
                <p:tags r:id="rId42"/>
              </p:custDataLst>
            </p:nvPr>
          </p:nvSpPr>
          <p:spPr bwMode="auto">
            <a:xfrm>
              <a:off x="2458548" y="3445796"/>
              <a:ext cx="16795" cy="75577"/>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noFill/>
            <a:ln w="9525" cmpd="sng">
              <a:solidFill>
                <a:schemeClr val="tx2"/>
              </a:solidFill>
              <a:prstDash val="solid"/>
              <a:round/>
              <a:headEnd/>
              <a:tailEnd/>
            </a:ln>
          </p:spPr>
          <p:txBody>
            <a:bodyPr/>
            <a:lstStyle/>
            <a:p>
              <a:endParaRPr lang="en-US"/>
            </a:p>
          </p:txBody>
        </p:sp>
        <p:sp>
          <p:nvSpPr>
            <p:cNvPr id="50" name="Freeform 57"/>
            <p:cNvSpPr>
              <a:spLocks/>
            </p:cNvSpPr>
            <p:nvPr>
              <p:custDataLst>
                <p:tags r:id="rId43"/>
              </p:custDataLst>
            </p:nvPr>
          </p:nvSpPr>
          <p:spPr bwMode="auto">
            <a:xfrm>
              <a:off x="1774160" y="3011231"/>
              <a:ext cx="20993" cy="75577"/>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noFill/>
            <a:ln w="9525" cmpd="sng">
              <a:solidFill>
                <a:schemeClr val="tx2"/>
              </a:solidFill>
              <a:prstDash val="solid"/>
              <a:round/>
              <a:headEnd/>
              <a:tailEnd/>
            </a:ln>
          </p:spPr>
          <p:txBody>
            <a:bodyPr/>
            <a:lstStyle/>
            <a:p>
              <a:endParaRPr lang="en-US"/>
            </a:p>
          </p:txBody>
        </p:sp>
        <p:grpSp>
          <p:nvGrpSpPr>
            <p:cNvPr id="51" name="Group 58"/>
            <p:cNvGrpSpPr>
              <a:grpSpLocks/>
            </p:cNvGrpSpPr>
            <p:nvPr>
              <p:custDataLst>
                <p:tags r:id="rId44"/>
              </p:custDataLst>
            </p:nvPr>
          </p:nvGrpSpPr>
          <p:grpSpPr bwMode="auto">
            <a:xfrm>
              <a:off x="1940008" y="2790800"/>
              <a:ext cx="174247" cy="258219"/>
              <a:chOff x="1199" y="2121"/>
              <a:chExt cx="97" cy="123"/>
            </a:xfrm>
            <a:noFill/>
          </p:grpSpPr>
          <p:sp>
            <p:nvSpPr>
              <p:cNvPr id="52"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chemeClr val="tx2"/>
                </a:solidFill>
                <a:prstDash val="solid"/>
                <a:round/>
                <a:headEnd/>
                <a:tailEnd/>
              </a:ln>
            </p:spPr>
            <p:txBody>
              <a:bodyPr/>
              <a:lstStyle/>
              <a:p>
                <a:endParaRPr lang="en-US"/>
              </a:p>
            </p:txBody>
          </p:sp>
          <p:sp>
            <p:nvSpPr>
              <p:cNvPr id="53"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chemeClr val="tx2"/>
                </a:solidFill>
                <a:prstDash val="solid"/>
                <a:round/>
                <a:headEnd/>
                <a:tailEnd/>
              </a:ln>
            </p:spPr>
            <p:txBody>
              <a:bodyPr/>
              <a:lstStyle/>
              <a:p>
                <a:endParaRPr lang="en-US"/>
              </a:p>
            </p:txBody>
          </p:sp>
          <p:sp>
            <p:nvSpPr>
              <p:cNvPr id="54"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chemeClr val="tx2"/>
                </a:solidFill>
                <a:prstDash val="solid"/>
                <a:round/>
                <a:headEnd/>
                <a:tailEnd/>
              </a:ln>
            </p:spPr>
            <p:txBody>
              <a:bodyPr/>
              <a:lstStyle/>
              <a:p>
                <a:endParaRPr lang="en-US"/>
              </a:p>
            </p:txBody>
          </p:sp>
          <p:sp>
            <p:nvSpPr>
              <p:cNvPr id="55"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chemeClr val="tx2"/>
                </a:solidFill>
                <a:prstDash val="solid"/>
                <a:round/>
                <a:headEnd/>
                <a:tailEnd/>
              </a:ln>
            </p:spPr>
            <p:txBody>
              <a:bodyPr/>
              <a:lstStyle/>
              <a:p>
                <a:endParaRPr lang="en-US"/>
              </a:p>
            </p:txBody>
          </p:sp>
          <p:sp>
            <p:nvSpPr>
              <p:cNvPr id="56"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chemeClr val="tx2"/>
                </a:solidFill>
                <a:prstDash val="solid"/>
                <a:round/>
                <a:headEnd/>
                <a:tailEnd/>
              </a:ln>
            </p:spPr>
            <p:txBody>
              <a:bodyPr/>
              <a:lstStyle/>
              <a:p>
                <a:endParaRPr lang="en-US"/>
              </a:p>
            </p:txBody>
          </p:sp>
          <p:sp>
            <p:nvSpPr>
              <p:cNvPr id="57"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chemeClr val="tx2"/>
                </a:solidFill>
                <a:prstDash val="solid"/>
                <a:round/>
                <a:headEnd/>
                <a:tailEnd/>
              </a:ln>
            </p:spPr>
            <p:txBody>
              <a:bodyPr/>
              <a:lstStyle/>
              <a:p>
                <a:endParaRPr lang="en-US"/>
              </a:p>
            </p:txBody>
          </p:sp>
          <p:sp>
            <p:nvSpPr>
              <p:cNvPr id="58"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chemeClr val="tx2"/>
                </a:solidFill>
                <a:prstDash val="solid"/>
                <a:round/>
                <a:headEnd/>
                <a:tailEnd/>
              </a:ln>
            </p:spPr>
            <p:txBody>
              <a:bodyPr/>
              <a:lstStyle/>
              <a:p>
                <a:endParaRPr lang="en-US"/>
              </a:p>
            </p:txBody>
          </p:sp>
          <p:sp>
            <p:nvSpPr>
              <p:cNvPr id="59"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chemeClr val="tx2"/>
                </a:solidFill>
                <a:prstDash val="solid"/>
                <a:round/>
                <a:headEnd/>
                <a:tailEnd/>
              </a:ln>
            </p:spPr>
            <p:txBody>
              <a:bodyPr/>
              <a:lstStyle/>
              <a:p>
                <a:endParaRPr lang="en-US"/>
              </a:p>
            </p:txBody>
          </p:sp>
          <p:sp>
            <p:nvSpPr>
              <p:cNvPr id="60"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chemeClr val="tx2"/>
                </a:solidFill>
                <a:prstDash val="solid"/>
                <a:round/>
                <a:headEnd/>
                <a:tailEnd/>
              </a:ln>
            </p:spPr>
            <p:txBody>
              <a:bodyPr/>
              <a:lstStyle/>
              <a:p>
                <a:endParaRPr lang="en-US"/>
              </a:p>
            </p:txBody>
          </p:sp>
          <p:sp>
            <p:nvSpPr>
              <p:cNvPr id="61"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chemeClr val="tx2"/>
                </a:solidFill>
                <a:prstDash val="solid"/>
                <a:round/>
                <a:headEnd/>
                <a:tailEnd/>
              </a:ln>
            </p:spPr>
            <p:txBody>
              <a:bodyPr/>
              <a:lstStyle/>
              <a:p>
                <a:endParaRPr lang="en-US"/>
              </a:p>
            </p:txBody>
          </p:sp>
        </p:grpSp>
        <p:grpSp>
          <p:nvGrpSpPr>
            <p:cNvPr id="62" name="Group 73"/>
            <p:cNvGrpSpPr>
              <a:grpSpLocks/>
            </p:cNvGrpSpPr>
            <p:nvPr>
              <p:custDataLst>
                <p:tags r:id="rId45"/>
              </p:custDataLst>
            </p:nvPr>
          </p:nvGrpSpPr>
          <p:grpSpPr bwMode="auto">
            <a:xfrm>
              <a:off x="9382203" y="5331012"/>
              <a:ext cx="606711" cy="535333"/>
              <a:chOff x="5372" y="3323"/>
              <a:chExt cx="341" cy="253"/>
            </a:xfrm>
            <a:noFill/>
          </p:grpSpPr>
          <p:sp>
            <p:nvSpPr>
              <p:cNvPr id="63"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64"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007298"/>
              </a:solidFill>
              <a:ln w="9525" cmpd="sng">
                <a:solidFill>
                  <a:schemeClr val="tx2"/>
                </a:solidFill>
                <a:prstDash val="solid"/>
                <a:round/>
                <a:headEnd/>
                <a:tailEnd/>
              </a:ln>
            </p:spPr>
            <p:txBody>
              <a:bodyPr/>
              <a:lstStyle/>
              <a:p>
                <a:endParaRPr lang="en-US"/>
              </a:p>
            </p:txBody>
          </p:sp>
          <p:sp>
            <p:nvSpPr>
              <p:cNvPr id="65"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007298"/>
              </a:solidFill>
              <a:ln w="9525" cmpd="sng">
                <a:solidFill>
                  <a:schemeClr val="tx2"/>
                </a:solidFill>
                <a:prstDash val="solid"/>
                <a:round/>
                <a:headEnd/>
                <a:tailEnd/>
              </a:ln>
            </p:spPr>
            <p:txBody>
              <a:bodyPr/>
              <a:lstStyle/>
              <a:p>
                <a:endParaRPr lang="en-US"/>
              </a:p>
            </p:txBody>
          </p:sp>
        </p:grpSp>
        <p:sp>
          <p:nvSpPr>
            <p:cNvPr id="67" name="Freeform 109"/>
            <p:cNvSpPr>
              <a:spLocks/>
            </p:cNvSpPr>
            <p:nvPr>
              <p:custDataLst>
                <p:tags r:id="rId46"/>
              </p:custDataLst>
            </p:nvPr>
          </p:nvSpPr>
          <p:spPr bwMode="auto">
            <a:xfrm>
              <a:off x="8815378" y="2028735"/>
              <a:ext cx="6297" cy="77677"/>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noFill/>
            <a:ln w="9525" cmpd="sng">
              <a:solidFill>
                <a:schemeClr val="tx2"/>
              </a:solidFill>
              <a:prstDash val="solid"/>
              <a:round/>
              <a:headEnd/>
              <a:tailEnd/>
            </a:ln>
          </p:spPr>
          <p:txBody>
            <a:bodyPr/>
            <a:lstStyle/>
            <a:p>
              <a:endParaRPr lang="en-US"/>
            </a:p>
          </p:txBody>
        </p:sp>
        <p:sp>
          <p:nvSpPr>
            <p:cNvPr id="68" name="Freeform 110"/>
            <p:cNvSpPr>
              <a:spLocks/>
            </p:cNvSpPr>
            <p:nvPr>
              <p:custDataLst>
                <p:tags r:id="rId47"/>
              </p:custDataLst>
            </p:nvPr>
          </p:nvSpPr>
          <p:spPr bwMode="auto">
            <a:xfrm>
              <a:off x="8569754" y="2771905"/>
              <a:ext cx="18895" cy="77677"/>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noFill/>
            <a:ln w="9525" cmpd="sng">
              <a:solidFill>
                <a:schemeClr val="tx2"/>
              </a:solidFill>
              <a:prstDash val="solid"/>
              <a:round/>
              <a:headEnd/>
              <a:tailEnd/>
            </a:ln>
          </p:spPr>
          <p:txBody>
            <a:bodyPr/>
            <a:lstStyle/>
            <a:p>
              <a:endParaRPr lang="en-US"/>
            </a:p>
          </p:txBody>
        </p:sp>
        <p:sp>
          <p:nvSpPr>
            <p:cNvPr id="69" name="Freeform 111"/>
            <p:cNvSpPr>
              <a:spLocks/>
            </p:cNvSpPr>
            <p:nvPr>
              <p:custDataLst>
                <p:tags r:id="rId48"/>
              </p:custDataLst>
            </p:nvPr>
          </p:nvSpPr>
          <p:spPr bwMode="auto">
            <a:xfrm>
              <a:off x="8592847" y="2685832"/>
              <a:ext cx="20993" cy="75577"/>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noFill/>
            <a:ln w="9525" cmpd="sng">
              <a:solidFill>
                <a:schemeClr val="tx2"/>
              </a:solidFill>
              <a:prstDash val="solid"/>
              <a:round/>
              <a:headEnd/>
              <a:tailEnd/>
            </a:ln>
          </p:spPr>
          <p:txBody>
            <a:bodyPr/>
            <a:lstStyle/>
            <a:p>
              <a:endParaRPr lang="en-US"/>
            </a:p>
          </p:txBody>
        </p:sp>
        <p:sp>
          <p:nvSpPr>
            <p:cNvPr id="73" name="Freeform 116"/>
            <p:cNvSpPr>
              <a:spLocks/>
            </p:cNvSpPr>
            <p:nvPr>
              <p:custDataLst>
                <p:tags r:id="rId49"/>
              </p:custDataLst>
            </p:nvPr>
          </p:nvSpPr>
          <p:spPr bwMode="auto">
            <a:xfrm>
              <a:off x="5830103" y="3193875"/>
              <a:ext cx="25192" cy="77675"/>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noFill/>
            <a:ln w="9525" cmpd="sng">
              <a:solidFill>
                <a:schemeClr val="tx2"/>
              </a:solidFill>
              <a:prstDash val="solid"/>
              <a:round/>
              <a:headEnd/>
              <a:tailEnd/>
            </a:ln>
          </p:spPr>
          <p:txBody>
            <a:bodyPr/>
            <a:lstStyle/>
            <a:p>
              <a:endParaRPr lang="en-US"/>
            </a:p>
          </p:txBody>
        </p:sp>
        <p:sp>
          <p:nvSpPr>
            <p:cNvPr id="108" name="Freeform 161"/>
            <p:cNvSpPr>
              <a:spLocks/>
            </p:cNvSpPr>
            <p:nvPr>
              <p:custDataLst>
                <p:tags r:id="rId50"/>
              </p:custDataLst>
            </p:nvPr>
          </p:nvSpPr>
          <p:spPr bwMode="auto">
            <a:xfrm>
              <a:off x="7026732" y="1728529"/>
              <a:ext cx="963601" cy="438763"/>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noFill/>
            <a:ln w="9525" cmpd="sng">
              <a:solidFill>
                <a:schemeClr val="tx2"/>
              </a:solidFill>
              <a:prstDash val="solid"/>
              <a:round/>
              <a:headEnd/>
              <a:tailEnd/>
            </a:ln>
          </p:spPr>
          <p:txBody>
            <a:bodyPr/>
            <a:lstStyle/>
            <a:p>
              <a:endParaRPr lang="en-US"/>
            </a:p>
          </p:txBody>
        </p:sp>
        <p:sp>
          <p:nvSpPr>
            <p:cNvPr id="109" name="Freeform 162"/>
            <p:cNvSpPr>
              <a:spLocks/>
            </p:cNvSpPr>
            <p:nvPr>
              <p:custDataLst>
                <p:tags r:id="rId51"/>
              </p:custDataLst>
            </p:nvPr>
          </p:nvSpPr>
          <p:spPr bwMode="auto">
            <a:xfrm>
              <a:off x="2168838" y="4329622"/>
              <a:ext cx="434565" cy="550029"/>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10" name="Freeform 163"/>
            <p:cNvSpPr>
              <a:spLocks/>
            </p:cNvSpPr>
            <p:nvPr>
              <p:custDataLst>
                <p:tags r:id="rId52"/>
              </p:custDataLst>
            </p:nvPr>
          </p:nvSpPr>
          <p:spPr bwMode="auto">
            <a:xfrm>
              <a:off x="2452249" y="3575956"/>
              <a:ext cx="157452" cy="285511"/>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noFill/>
            <a:ln w="9525" cap="flat" cmpd="sng">
              <a:solidFill>
                <a:schemeClr val="tx2"/>
              </a:solidFill>
              <a:prstDash val="solid"/>
              <a:round/>
              <a:headEnd type="none" w="med" len="med"/>
              <a:tailEnd type="none" w="med" len="med"/>
            </a:ln>
            <a:effectLst/>
          </p:spPr>
          <p:txBody>
            <a:bodyPr/>
            <a:lstStyle/>
            <a:p>
              <a:endParaRPr lang="en-US"/>
            </a:p>
          </p:txBody>
        </p:sp>
        <p:grpSp>
          <p:nvGrpSpPr>
            <p:cNvPr id="111" name="Group 164"/>
            <p:cNvGrpSpPr>
              <a:grpSpLocks/>
            </p:cNvGrpSpPr>
            <p:nvPr>
              <p:custDataLst>
                <p:tags r:id="rId53"/>
              </p:custDataLst>
            </p:nvPr>
          </p:nvGrpSpPr>
          <p:grpSpPr bwMode="auto">
            <a:xfrm>
              <a:off x="2074366" y="3357624"/>
              <a:ext cx="428267" cy="531135"/>
              <a:chOff x="1486" y="2412"/>
              <a:chExt cx="244" cy="256"/>
            </a:xfrm>
            <a:noFill/>
          </p:grpSpPr>
          <p:sp>
            <p:nvSpPr>
              <p:cNvPr id="112"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113"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114"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115"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grpSp>
        <p:sp>
          <p:nvSpPr>
            <p:cNvPr id="116" name="Freeform 169"/>
            <p:cNvSpPr>
              <a:spLocks/>
            </p:cNvSpPr>
            <p:nvPr>
              <p:custDataLst>
                <p:tags r:id="rId54"/>
              </p:custDataLst>
            </p:nvPr>
          </p:nvSpPr>
          <p:spPr bwMode="auto">
            <a:xfrm>
              <a:off x="8714609" y="5393992"/>
              <a:ext cx="41987" cy="14695"/>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noFill/>
            <a:ln w="9525" cmpd="sng">
              <a:solidFill>
                <a:schemeClr val="tx2"/>
              </a:solidFill>
              <a:prstDash val="solid"/>
              <a:round/>
              <a:headEnd/>
              <a:tailEnd/>
            </a:ln>
          </p:spPr>
          <p:txBody>
            <a:bodyPr/>
            <a:lstStyle/>
            <a:p>
              <a:endParaRPr lang="en-US"/>
            </a:p>
          </p:txBody>
        </p:sp>
        <p:sp>
          <p:nvSpPr>
            <p:cNvPr id="117" name="Freeform 170"/>
            <p:cNvSpPr>
              <a:spLocks/>
            </p:cNvSpPr>
            <p:nvPr>
              <p:custDataLst>
                <p:tags r:id="rId55"/>
              </p:custDataLst>
            </p:nvPr>
          </p:nvSpPr>
          <p:spPr bwMode="auto">
            <a:xfrm>
              <a:off x="8867861" y="5570337"/>
              <a:ext cx="2100" cy="6297"/>
            </a:xfrm>
            <a:custGeom>
              <a:avLst/>
              <a:gdLst/>
              <a:ahLst/>
              <a:cxnLst>
                <a:cxn ang="0">
                  <a:pos x="0" y="0"/>
                </a:cxn>
                <a:cxn ang="0">
                  <a:pos x="0" y="6"/>
                </a:cxn>
                <a:cxn ang="0">
                  <a:pos x="0" y="0"/>
                </a:cxn>
              </a:cxnLst>
              <a:rect l="0" t="0" r="r" b="b"/>
              <a:pathLst>
                <a:path h="6">
                  <a:moveTo>
                    <a:pt x="0" y="0"/>
                  </a:moveTo>
                  <a:lnTo>
                    <a:pt x="0" y="6"/>
                  </a:lnTo>
                  <a:lnTo>
                    <a:pt x="0" y="0"/>
                  </a:lnTo>
                </a:path>
              </a:pathLst>
            </a:custGeom>
            <a:noFill/>
            <a:ln w="9525" cmpd="sng">
              <a:solidFill>
                <a:schemeClr val="tx2"/>
              </a:solidFill>
              <a:prstDash val="solid"/>
              <a:round/>
              <a:headEnd/>
              <a:tailEnd/>
            </a:ln>
          </p:spPr>
          <p:txBody>
            <a:bodyPr/>
            <a:lstStyle/>
            <a:p>
              <a:endParaRPr lang="en-US"/>
            </a:p>
          </p:txBody>
        </p:sp>
        <p:sp>
          <p:nvSpPr>
            <p:cNvPr id="118" name="Line 171"/>
            <p:cNvSpPr>
              <a:spLocks noChangeShapeType="1"/>
            </p:cNvSpPr>
            <p:nvPr>
              <p:custDataLst>
                <p:tags r:id="rId56"/>
              </p:custDataLst>
            </p:nvPr>
          </p:nvSpPr>
          <p:spPr bwMode="auto">
            <a:xfrm flipV="1">
              <a:off x="8987525" y="5568237"/>
              <a:ext cx="2099" cy="16795"/>
            </a:xfrm>
            <a:prstGeom prst="line">
              <a:avLst/>
            </a:prstGeom>
            <a:noFill/>
            <a:ln w="9525">
              <a:solidFill>
                <a:schemeClr val="tx2"/>
              </a:solidFill>
              <a:round/>
              <a:headEnd/>
              <a:tailEnd/>
            </a:ln>
          </p:spPr>
          <p:txBody>
            <a:bodyPr/>
            <a:lstStyle/>
            <a:p>
              <a:endParaRPr lang="en-US"/>
            </a:p>
          </p:txBody>
        </p:sp>
        <p:sp>
          <p:nvSpPr>
            <p:cNvPr id="119" name="Freeform 172"/>
            <p:cNvSpPr>
              <a:spLocks/>
            </p:cNvSpPr>
            <p:nvPr>
              <p:custDataLst>
                <p:tags r:id="rId57"/>
              </p:custDataLst>
            </p:nvPr>
          </p:nvSpPr>
          <p:spPr bwMode="auto">
            <a:xfrm>
              <a:off x="8987525" y="5568237"/>
              <a:ext cx="4199" cy="20993"/>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noFill/>
            <a:ln w="9525" cmpd="sng">
              <a:solidFill>
                <a:schemeClr val="tx2"/>
              </a:solidFill>
              <a:prstDash val="solid"/>
              <a:round/>
              <a:headEnd/>
              <a:tailEnd/>
            </a:ln>
          </p:spPr>
          <p:txBody>
            <a:bodyPr/>
            <a:lstStyle/>
            <a:p>
              <a:endParaRPr lang="en-US"/>
            </a:p>
          </p:txBody>
        </p:sp>
        <p:sp>
          <p:nvSpPr>
            <p:cNvPr id="120" name="Freeform 186"/>
            <p:cNvSpPr>
              <a:spLocks/>
            </p:cNvSpPr>
            <p:nvPr>
              <p:custDataLst>
                <p:tags r:id="rId58"/>
              </p:custDataLst>
            </p:nvPr>
          </p:nvSpPr>
          <p:spPr bwMode="auto">
            <a:xfrm>
              <a:off x="8848968" y="5610224"/>
              <a:ext cx="128060" cy="115465"/>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007298"/>
            </a:solidFill>
            <a:ln w="9525" cmpd="sng">
              <a:solidFill>
                <a:schemeClr val="tx2"/>
              </a:solidFill>
              <a:prstDash val="solid"/>
              <a:round/>
              <a:headEnd/>
              <a:tailEnd/>
            </a:ln>
          </p:spPr>
          <p:txBody>
            <a:bodyPr/>
            <a:lstStyle/>
            <a:p>
              <a:endParaRPr lang="en-US"/>
            </a:p>
          </p:txBody>
        </p:sp>
        <p:sp>
          <p:nvSpPr>
            <p:cNvPr id="121" name="Freeform 192"/>
            <p:cNvSpPr>
              <a:spLocks/>
            </p:cNvSpPr>
            <p:nvPr>
              <p:custDataLst>
                <p:tags r:id="rId59"/>
              </p:custDataLst>
            </p:nvPr>
          </p:nvSpPr>
          <p:spPr bwMode="auto">
            <a:xfrm>
              <a:off x="8065910" y="4323324"/>
              <a:ext cx="1347782" cy="1200827"/>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007298"/>
            </a:solidFill>
            <a:ln w="9525" cmpd="sng">
              <a:solidFill>
                <a:schemeClr val="tx2"/>
              </a:solidFill>
              <a:prstDash val="solid"/>
              <a:round/>
              <a:headEnd/>
              <a:tailEnd/>
            </a:ln>
          </p:spPr>
          <p:txBody>
            <a:bodyPr/>
            <a:lstStyle/>
            <a:p>
              <a:endParaRPr lang="en-US"/>
            </a:p>
          </p:txBody>
        </p:sp>
        <p:sp>
          <p:nvSpPr>
            <p:cNvPr id="122" name="Freeform 193"/>
            <p:cNvSpPr>
              <a:spLocks/>
            </p:cNvSpPr>
            <p:nvPr>
              <p:custDataLst>
                <p:tags r:id="rId60"/>
              </p:custDataLst>
            </p:nvPr>
          </p:nvSpPr>
          <p:spPr bwMode="auto">
            <a:xfrm>
              <a:off x="774869" y="2559871"/>
              <a:ext cx="883826" cy="768362"/>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123" name="Freeform 194"/>
            <p:cNvSpPr>
              <a:spLocks/>
            </p:cNvSpPr>
            <p:nvPr>
              <p:custDataLst>
                <p:tags r:id="rId61"/>
              </p:custDataLst>
            </p:nvPr>
          </p:nvSpPr>
          <p:spPr bwMode="auto">
            <a:xfrm>
              <a:off x="2460646" y="4728498"/>
              <a:ext cx="279214" cy="350592"/>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24" name="Freeform 195"/>
            <p:cNvSpPr>
              <a:spLocks/>
            </p:cNvSpPr>
            <p:nvPr>
              <p:custDataLst>
                <p:tags r:id="rId62"/>
              </p:custDataLst>
            </p:nvPr>
          </p:nvSpPr>
          <p:spPr bwMode="auto">
            <a:xfrm>
              <a:off x="2685278" y="3676725"/>
              <a:ext cx="96570" cy="144854"/>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25" name="Freeform 196"/>
            <p:cNvSpPr>
              <a:spLocks/>
            </p:cNvSpPr>
            <p:nvPr>
              <p:custDataLst>
                <p:tags r:id="rId63"/>
              </p:custDataLst>
            </p:nvPr>
          </p:nvSpPr>
          <p:spPr bwMode="auto">
            <a:xfrm>
              <a:off x="2042877" y="3093106"/>
              <a:ext cx="92371" cy="77675"/>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noFill/>
            <a:ln w="9525" cmpd="sng">
              <a:solidFill>
                <a:schemeClr val="tx2"/>
              </a:solidFill>
              <a:prstDash val="solid"/>
              <a:round/>
              <a:headEnd/>
              <a:tailEnd/>
            </a:ln>
          </p:spPr>
          <p:txBody>
            <a:bodyPr/>
            <a:lstStyle/>
            <a:p>
              <a:endParaRPr lang="en-US"/>
            </a:p>
          </p:txBody>
        </p:sp>
        <p:sp>
          <p:nvSpPr>
            <p:cNvPr id="126" name="Freeform 215"/>
            <p:cNvSpPr>
              <a:spLocks/>
            </p:cNvSpPr>
            <p:nvPr>
              <p:custDataLst>
                <p:tags r:id="rId64"/>
              </p:custDataLst>
            </p:nvPr>
          </p:nvSpPr>
          <p:spPr bwMode="auto">
            <a:xfrm>
              <a:off x="1910617" y="3139292"/>
              <a:ext cx="69279" cy="77675"/>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127" name="Freeform 216"/>
            <p:cNvSpPr>
              <a:spLocks/>
            </p:cNvSpPr>
            <p:nvPr>
              <p:custDataLst>
                <p:tags r:id="rId65"/>
              </p:custDataLst>
            </p:nvPr>
          </p:nvSpPr>
          <p:spPr bwMode="auto">
            <a:xfrm>
              <a:off x="1721675" y="2956648"/>
              <a:ext cx="331697" cy="144856"/>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noFill/>
            <a:ln w="9525" cmpd="sng">
              <a:solidFill>
                <a:schemeClr val="tx2"/>
              </a:solidFill>
              <a:prstDash val="solid"/>
              <a:round/>
              <a:headEnd/>
              <a:tailEnd/>
            </a:ln>
          </p:spPr>
          <p:txBody>
            <a:bodyPr/>
            <a:lstStyle/>
            <a:p>
              <a:endParaRPr lang="en-US"/>
            </a:p>
          </p:txBody>
        </p:sp>
        <p:sp>
          <p:nvSpPr>
            <p:cNvPr id="128" name="Freeform 217"/>
            <p:cNvSpPr>
              <a:spLocks/>
            </p:cNvSpPr>
            <p:nvPr>
              <p:custDataLst>
                <p:tags r:id="rId66"/>
              </p:custDataLst>
            </p:nvPr>
          </p:nvSpPr>
          <p:spPr bwMode="auto">
            <a:xfrm>
              <a:off x="2124751" y="3093106"/>
              <a:ext cx="117564" cy="92371"/>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noFill/>
            <a:ln w="9525" cmpd="sng">
              <a:solidFill>
                <a:schemeClr val="tx2"/>
              </a:solidFill>
              <a:prstDash val="solid"/>
              <a:round/>
              <a:headEnd/>
              <a:tailEnd/>
            </a:ln>
          </p:spPr>
          <p:txBody>
            <a:bodyPr/>
            <a:lstStyle/>
            <a:p>
              <a:endParaRPr lang="en-US"/>
            </a:p>
          </p:txBody>
        </p:sp>
        <p:sp>
          <p:nvSpPr>
            <p:cNvPr id="129" name="Freeform 218"/>
            <p:cNvSpPr>
              <a:spLocks/>
            </p:cNvSpPr>
            <p:nvPr>
              <p:custDataLst>
                <p:tags r:id="rId67"/>
              </p:custDataLst>
            </p:nvPr>
          </p:nvSpPr>
          <p:spPr bwMode="auto">
            <a:xfrm>
              <a:off x="1553727" y="3172881"/>
              <a:ext cx="44087" cy="111265"/>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30" name="Freeform 219"/>
            <p:cNvSpPr>
              <a:spLocks/>
            </p:cNvSpPr>
            <p:nvPr>
              <p:custDataLst>
                <p:tags r:id="rId68"/>
              </p:custDataLst>
            </p:nvPr>
          </p:nvSpPr>
          <p:spPr bwMode="auto">
            <a:xfrm>
              <a:off x="1448760" y="3172881"/>
              <a:ext cx="123862" cy="19314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31" name="Freeform 220"/>
            <p:cNvSpPr>
              <a:spLocks/>
            </p:cNvSpPr>
            <p:nvPr>
              <p:custDataLst>
                <p:tags r:id="rId69"/>
              </p:custDataLst>
            </p:nvPr>
          </p:nvSpPr>
          <p:spPr bwMode="auto">
            <a:xfrm>
              <a:off x="1511740" y="3319836"/>
              <a:ext cx="94471" cy="75577"/>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32" name="Freeform 221"/>
            <p:cNvSpPr>
              <a:spLocks/>
            </p:cNvSpPr>
            <p:nvPr>
              <p:custDataLst>
                <p:tags r:id="rId70"/>
              </p:custDataLst>
            </p:nvPr>
          </p:nvSpPr>
          <p:spPr bwMode="auto">
            <a:xfrm>
              <a:off x="1553727" y="3269451"/>
              <a:ext cx="188941" cy="115464"/>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33" name="Freeform 222"/>
            <p:cNvSpPr>
              <a:spLocks/>
            </p:cNvSpPr>
            <p:nvPr>
              <p:custDataLst>
                <p:tags r:id="rId71"/>
              </p:custDataLst>
            </p:nvPr>
          </p:nvSpPr>
          <p:spPr bwMode="auto">
            <a:xfrm>
              <a:off x="1576821" y="3309338"/>
              <a:ext cx="165848" cy="161651"/>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34" name="Freeform 223"/>
            <p:cNvSpPr>
              <a:spLocks/>
            </p:cNvSpPr>
            <p:nvPr>
              <p:custDataLst>
                <p:tags r:id="rId72"/>
              </p:custDataLst>
            </p:nvPr>
          </p:nvSpPr>
          <p:spPr bwMode="auto">
            <a:xfrm>
              <a:off x="1644000" y="3458393"/>
              <a:ext cx="111265" cy="132258"/>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35" name="Freeform 224"/>
            <p:cNvSpPr>
              <a:spLocks/>
            </p:cNvSpPr>
            <p:nvPr>
              <p:custDataLst>
                <p:tags r:id="rId73"/>
              </p:custDataLst>
            </p:nvPr>
          </p:nvSpPr>
          <p:spPr bwMode="auto">
            <a:xfrm>
              <a:off x="1751066" y="3529770"/>
              <a:ext cx="188941" cy="104967"/>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136" name="Freeform 225"/>
            <p:cNvSpPr>
              <a:spLocks/>
            </p:cNvSpPr>
            <p:nvPr>
              <p:custDataLst>
                <p:tags r:id="rId74"/>
              </p:custDataLst>
            </p:nvPr>
          </p:nvSpPr>
          <p:spPr bwMode="auto">
            <a:xfrm>
              <a:off x="2651688" y="5188256"/>
              <a:ext cx="176345" cy="205736"/>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37" name="Freeform 227"/>
            <p:cNvSpPr>
              <a:spLocks/>
            </p:cNvSpPr>
            <p:nvPr>
              <p:custDataLst>
                <p:tags r:id="rId75"/>
              </p:custDataLst>
            </p:nvPr>
          </p:nvSpPr>
          <p:spPr bwMode="auto">
            <a:xfrm>
              <a:off x="4599884" y="1018949"/>
              <a:ext cx="594115" cy="478651"/>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138" name="Freeform 228"/>
            <p:cNvSpPr>
              <a:spLocks/>
            </p:cNvSpPr>
            <p:nvPr>
              <p:custDataLst>
                <p:tags r:id="rId76"/>
              </p:custDataLst>
            </p:nvPr>
          </p:nvSpPr>
          <p:spPr bwMode="auto">
            <a:xfrm>
              <a:off x="5049145" y="2131604"/>
              <a:ext cx="65079" cy="119662"/>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noFill/>
            <a:ln w="9525" cmpd="sng">
              <a:solidFill>
                <a:schemeClr val="tx2"/>
              </a:solidFill>
              <a:prstDash val="solid"/>
              <a:round/>
              <a:headEnd/>
              <a:tailEnd/>
            </a:ln>
          </p:spPr>
          <p:txBody>
            <a:bodyPr/>
            <a:lstStyle/>
            <a:p>
              <a:endParaRPr lang="en-US"/>
            </a:p>
          </p:txBody>
        </p:sp>
        <p:sp>
          <p:nvSpPr>
            <p:cNvPr id="139" name="Freeform 229"/>
            <p:cNvSpPr>
              <a:spLocks/>
            </p:cNvSpPr>
            <p:nvPr>
              <p:custDataLst>
                <p:tags r:id="rId77"/>
              </p:custDataLst>
            </p:nvPr>
          </p:nvSpPr>
          <p:spPr bwMode="auto">
            <a:xfrm>
              <a:off x="4662865" y="1919569"/>
              <a:ext cx="111265" cy="77677"/>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40" name="Freeform 230"/>
            <p:cNvSpPr>
              <a:spLocks/>
            </p:cNvSpPr>
            <p:nvPr>
              <p:custDataLst>
                <p:tags r:id="rId78"/>
              </p:custDataLst>
            </p:nvPr>
          </p:nvSpPr>
          <p:spPr bwMode="auto">
            <a:xfrm>
              <a:off x="4580990" y="1680244"/>
              <a:ext cx="111266" cy="96570"/>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41" name="Freeform 231"/>
            <p:cNvSpPr>
              <a:spLocks/>
            </p:cNvSpPr>
            <p:nvPr>
              <p:custDataLst>
                <p:tags r:id="rId79"/>
              </p:custDataLst>
            </p:nvPr>
          </p:nvSpPr>
          <p:spPr bwMode="auto">
            <a:xfrm>
              <a:off x="4555797" y="1764217"/>
              <a:ext cx="111266" cy="75577"/>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42" name="Freeform 232"/>
            <p:cNvSpPr>
              <a:spLocks/>
            </p:cNvSpPr>
            <p:nvPr>
              <p:custDataLst>
                <p:tags r:id="rId80"/>
              </p:custDataLst>
            </p:nvPr>
          </p:nvSpPr>
          <p:spPr bwMode="auto">
            <a:xfrm>
              <a:off x="5561386" y="2496891"/>
              <a:ext cx="44086" cy="174245"/>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noFill/>
            <a:ln w="9525" cmpd="sng">
              <a:solidFill>
                <a:schemeClr val="tx2"/>
              </a:solidFill>
              <a:prstDash val="solid"/>
              <a:round/>
              <a:headEnd/>
              <a:tailEnd/>
            </a:ln>
          </p:spPr>
          <p:txBody>
            <a:bodyPr/>
            <a:lstStyle/>
            <a:p>
              <a:endParaRPr lang="en-US"/>
            </a:p>
          </p:txBody>
        </p:sp>
        <p:sp>
          <p:nvSpPr>
            <p:cNvPr id="143" name="Freeform 233"/>
            <p:cNvSpPr>
              <a:spLocks/>
            </p:cNvSpPr>
            <p:nvPr>
              <p:custDataLst>
                <p:tags r:id="rId81"/>
              </p:custDataLst>
            </p:nvPr>
          </p:nvSpPr>
          <p:spPr bwMode="auto">
            <a:xfrm>
              <a:off x="5494207" y="2566169"/>
              <a:ext cx="92371" cy="172147"/>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noFill/>
            <a:ln w="9525" cmpd="sng">
              <a:solidFill>
                <a:schemeClr val="tx2"/>
              </a:solidFill>
              <a:prstDash val="solid"/>
              <a:round/>
              <a:headEnd/>
              <a:tailEnd/>
            </a:ln>
          </p:spPr>
          <p:txBody>
            <a:bodyPr/>
            <a:lstStyle/>
            <a:p>
              <a:endParaRPr lang="en-US"/>
            </a:p>
          </p:txBody>
        </p:sp>
        <p:sp>
          <p:nvSpPr>
            <p:cNvPr id="144" name="Freeform 234"/>
            <p:cNvSpPr>
              <a:spLocks/>
            </p:cNvSpPr>
            <p:nvPr>
              <p:custDataLst>
                <p:tags r:id="rId82"/>
              </p:custDataLst>
            </p:nvPr>
          </p:nvSpPr>
          <p:spPr bwMode="auto">
            <a:xfrm>
              <a:off x="4173716" y="1579475"/>
              <a:ext cx="128061" cy="191041"/>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94D60A"/>
            </a:solidFill>
            <a:ln w="9525" cmpd="sng">
              <a:solidFill>
                <a:schemeClr val="tx2"/>
              </a:solidFill>
              <a:prstDash val="solid"/>
              <a:round/>
              <a:headEnd/>
              <a:tailEnd/>
            </a:ln>
          </p:spPr>
          <p:txBody>
            <a:bodyPr/>
            <a:lstStyle/>
            <a:p>
              <a:endParaRPr lang="en-US"/>
            </a:p>
          </p:txBody>
        </p:sp>
        <p:sp>
          <p:nvSpPr>
            <p:cNvPr id="145" name="Freeform 235"/>
            <p:cNvSpPr>
              <a:spLocks/>
            </p:cNvSpPr>
            <p:nvPr>
              <p:custDataLst>
                <p:tags r:id="rId83"/>
              </p:custDataLst>
            </p:nvPr>
          </p:nvSpPr>
          <p:spPr bwMode="auto">
            <a:xfrm>
              <a:off x="3925992" y="2784501"/>
              <a:ext cx="405175" cy="516440"/>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noFill/>
            <a:ln w="9525" cmpd="sng">
              <a:solidFill>
                <a:schemeClr val="tx2"/>
              </a:solidFill>
              <a:prstDash val="solid"/>
              <a:round/>
              <a:headEnd/>
              <a:tailEnd/>
            </a:ln>
          </p:spPr>
          <p:txBody>
            <a:bodyPr/>
            <a:lstStyle/>
            <a:p>
              <a:endParaRPr lang="en-US"/>
            </a:p>
          </p:txBody>
        </p:sp>
        <p:sp>
          <p:nvSpPr>
            <p:cNvPr id="146" name="Freeform 236"/>
            <p:cNvSpPr>
              <a:spLocks/>
            </p:cNvSpPr>
            <p:nvPr>
              <p:custDataLst>
                <p:tags r:id="rId84"/>
              </p:custDataLst>
            </p:nvPr>
          </p:nvSpPr>
          <p:spPr bwMode="auto">
            <a:xfrm>
              <a:off x="4079246" y="2864276"/>
              <a:ext cx="547930" cy="619309"/>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noFill/>
            <a:ln w="9525" cmpd="sng">
              <a:solidFill>
                <a:schemeClr val="tx2"/>
              </a:solidFill>
              <a:prstDash val="solid"/>
              <a:round/>
              <a:headEnd/>
              <a:tailEnd/>
            </a:ln>
          </p:spPr>
          <p:txBody>
            <a:bodyPr/>
            <a:lstStyle/>
            <a:p>
              <a:endParaRPr lang="en-US"/>
            </a:p>
          </p:txBody>
        </p:sp>
        <p:sp>
          <p:nvSpPr>
            <p:cNvPr id="147" name="Freeform 237"/>
            <p:cNvSpPr>
              <a:spLocks/>
            </p:cNvSpPr>
            <p:nvPr>
              <p:custDataLst>
                <p:tags r:id="rId85"/>
              </p:custDataLst>
            </p:nvPr>
          </p:nvSpPr>
          <p:spPr bwMode="auto">
            <a:xfrm>
              <a:off x="4209405" y="2343638"/>
              <a:ext cx="652897" cy="766263"/>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noFill/>
            <a:ln w="9525" cmpd="sng">
              <a:solidFill>
                <a:schemeClr val="tx2"/>
              </a:solidFill>
              <a:prstDash val="solid"/>
              <a:round/>
              <a:headEnd/>
              <a:tailEnd/>
            </a:ln>
          </p:spPr>
          <p:txBody>
            <a:bodyPr/>
            <a:lstStyle/>
            <a:p>
              <a:endParaRPr lang="en-US"/>
            </a:p>
          </p:txBody>
        </p:sp>
        <p:sp>
          <p:nvSpPr>
            <p:cNvPr id="148" name="Freeform 238"/>
            <p:cNvSpPr>
              <a:spLocks/>
            </p:cNvSpPr>
            <p:nvPr>
              <p:custDataLst>
                <p:tags r:id="rId86"/>
              </p:custDataLst>
            </p:nvPr>
          </p:nvSpPr>
          <p:spPr bwMode="auto">
            <a:xfrm>
              <a:off x="4786726" y="2522083"/>
              <a:ext cx="508043" cy="577320"/>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noFill/>
            <a:ln w="9525" cmpd="sng">
              <a:solidFill>
                <a:schemeClr val="tx2"/>
              </a:solidFill>
              <a:prstDash val="solid"/>
              <a:round/>
              <a:headEnd/>
              <a:tailEnd/>
            </a:ln>
          </p:spPr>
          <p:txBody>
            <a:bodyPr/>
            <a:lstStyle/>
            <a:p>
              <a:endParaRPr lang="en-US"/>
            </a:p>
          </p:txBody>
        </p:sp>
        <p:sp>
          <p:nvSpPr>
            <p:cNvPr id="149" name="Freeform 239"/>
            <p:cNvSpPr>
              <a:spLocks/>
            </p:cNvSpPr>
            <p:nvPr>
              <p:custDataLst>
                <p:tags r:id="rId87"/>
              </p:custDataLst>
            </p:nvPr>
          </p:nvSpPr>
          <p:spPr bwMode="auto">
            <a:xfrm>
              <a:off x="4723745" y="2343638"/>
              <a:ext cx="123862" cy="312804"/>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noFill/>
            <a:ln w="9525" cmpd="sng">
              <a:solidFill>
                <a:schemeClr val="tx2"/>
              </a:solidFill>
              <a:prstDash val="solid"/>
              <a:round/>
              <a:headEnd/>
              <a:tailEnd/>
            </a:ln>
          </p:spPr>
          <p:txBody>
            <a:bodyPr/>
            <a:lstStyle/>
            <a:p>
              <a:endParaRPr lang="en-US"/>
            </a:p>
          </p:txBody>
        </p:sp>
        <p:sp>
          <p:nvSpPr>
            <p:cNvPr id="150" name="Freeform 240"/>
            <p:cNvSpPr>
              <a:spLocks/>
            </p:cNvSpPr>
            <p:nvPr>
              <p:custDataLst>
                <p:tags r:id="rId88"/>
              </p:custDataLst>
            </p:nvPr>
          </p:nvSpPr>
          <p:spPr bwMode="auto">
            <a:xfrm>
              <a:off x="3907099" y="2755110"/>
              <a:ext cx="306505" cy="285511"/>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noFill/>
            <a:ln w="9525" cmpd="sng">
              <a:solidFill>
                <a:schemeClr val="tx2"/>
              </a:solidFill>
              <a:prstDash val="solid"/>
              <a:round/>
              <a:headEnd/>
              <a:tailEnd/>
            </a:ln>
          </p:spPr>
          <p:txBody>
            <a:bodyPr/>
            <a:lstStyle/>
            <a:p>
              <a:endParaRPr lang="en-US"/>
            </a:p>
          </p:txBody>
        </p:sp>
        <p:sp>
          <p:nvSpPr>
            <p:cNvPr id="151" name="Freeform 241"/>
            <p:cNvSpPr>
              <a:spLocks/>
            </p:cNvSpPr>
            <p:nvPr>
              <p:custDataLst>
                <p:tags r:id="rId89"/>
              </p:custDataLst>
            </p:nvPr>
          </p:nvSpPr>
          <p:spPr bwMode="auto">
            <a:xfrm>
              <a:off x="3865112" y="1178500"/>
              <a:ext cx="251922" cy="123861"/>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noFill/>
            <a:ln w="9525" cmpd="sng">
              <a:solidFill>
                <a:schemeClr val="tx2"/>
              </a:solidFill>
              <a:prstDash val="solid"/>
              <a:round/>
              <a:headEnd/>
              <a:tailEnd/>
            </a:ln>
          </p:spPr>
          <p:txBody>
            <a:bodyPr/>
            <a:lstStyle/>
            <a:p>
              <a:endParaRPr lang="en-US"/>
            </a:p>
          </p:txBody>
        </p:sp>
        <p:sp>
          <p:nvSpPr>
            <p:cNvPr id="152" name="Freeform 242"/>
            <p:cNvSpPr>
              <a:spLocks/>
            </p:cNvSpPr>
            <p:nvPr>
              <p:custDataLst>
                <p:tags r:id="rId90"/>
              </p:custDataLst>
            </p:nvPr>
          </p:nvSpPr>
          <p:spPr bwMode="auto">
            <a:xfrm>
              <a:off x="4912687" y="1526992"/>
              <a:ext cx="18895" cy="75577"/>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53" name="Freeform 243"/>
            <p:cNvSpPr>
              <a:spLocks/>
            </p:cNvSpPr>
            <p:nvPr>
              <p:custDataLst>
                <p:tags r:id="rId91"/>
              </p:custDataLst>
            </p:nvPr>
          </p:nvSpPr>
          <p:spPr bwMode="auto">
            <a:xfrm>
              <a:off x="4763634" y="1081930"/>
              <a:ext cx="310704" cy="52273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54" name="Freeform 244"/>
            <p:cNvSpPr>
              <a:spLocks/>
            </p:cNvSpPr>
            <p:nvPr>
              <p:custDataLst>
                <p:tags r:id="rId92"/>
              </p:custDataLst>
            </p:nvPr>
          </p:nvSpPr>
          <p:spPr bwMode="auto">
            <a:xfrm>
              <a:off x="4946276" y="1497601"/>
              <a:ext cx="35690" cy="75577"/>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55" name="Freeform 245"/>
            <p:cNvSpPr>
              <a:spLocks/>
            </p:cNvSpPr>
            <p:nvPr>
              <p:custDataLst>
                <p:tags r:id="rId93"/>
              </p:custDataLst>
            </p:nvPr>
          </p:nvSpPr>
          <p:spPr bwMode="auto">
            <a:xfrm>
              <a:off x="4211504" y="1711734"/>
              <a:ext cx="37788" cy="75577"/>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56" name="Freeform 246"/>
            <p:cNvSpPr>
              <a:spLocks/>
            </p:cNvSpPr>
            <p:nvPr>
              <p:custDataLst>
                <p:tags r:id="rId94"/>
              </p:custDataLst>
            </p:nvPr>
          </p:nvSpPr>
          <p:spPr bwMode="auto">
            <a:xfrm>
              <a:off x="5471114" y="2410817"/>
              <a:ext cx="67179" cy="75577"/>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noFill/>
            <a:ln w="9525" cmpd="sng">
              <a:solidFill>
                <a:schemeClr val="tx2"/>
              </a:solidFill>
              <a:prstDash val="solid"/>
              <a:round/>
              <a:headEnd/>
              <a:tailEnd/>
            </a:ln>
          </p:spPr>
          <p:txBody>
            <a:bodyPr/>
            <a:lstStyle/>
            <a:p>
              <a:endParaRPr lang="en-US"/>
            </a:p>
          </p:txBody>
        </p:sp>
        <p:sp>
          <p:nvSpPr>
            <p:cNvPr id="157" name="Freeform 247"/>
            <p:cNvSpPr>
              <a:spLocks/>
            </p:cNvSpPr>
            <p:nvPr>
              <p:custDataLst>
                <p:tags r:id="rId95"/>
              </p:custDataLst>
            </p:nvPr>
          </p:nvSpPr>
          <p:spPr bwMode="auto">
            <a:xfrm>
              <a:off x="4952575" y="3458393"/>
              <a:ext cx="430366" cy="323300"/>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noFill/>
            <a:ln w="9525" cmpd="sng">
              <a:solidFill>
                <a:schemeClr val="tx2"/>
              </a:solidFill>
              <a:prstDash val="solid"/>
              <a:round/>
              <a:headEnd/>
              <a:tailEnd/>
            </a:ln>
          </p:spPr>
          <p:txBody>
            <a:bodyPr/>
            <a:lstStyle/>
            <a:p>
              <a:endParaRPr lang="en-US"/>
            </a:p>
          </p:txBody>
        </p:sp>
        <p:sp>
          <p:nvSpPr>
            <p:cNvPr id="158" name="Freeform 248"/>
            <p:cNvSpPr>
              <a:spLocks/>
            </p:cNvSpPr>
            <p:nvPr>
              <p:custDataLst>
                <p:tags r:id="rId96"/>
              </p:custDataLst>
            </p:nvPr>
          </p:nvSpPr>
          <p:spPr bwMode="auto">
            <a:xfrm>
              <a:off x="4868601" y="3680924"/>
              <a:ext cx="661294" cy="730573"/>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noFill/>
            <a:ln w="9525" cmpd="sng">
              <a:solidFill>
                <a:schemeClr val="tx2"/>
              </a:solidFill>
              <a:prstDash val="solid"/>
              <a:round/>
              <a:headEnd/>
              <a:tailEnd/>
            </a:ln>
          </p:spPr>
          <p:txBody>
            <a:bodyPr/>
            <a:lstStyle/>
            <a:p>
              <a:endParaRPr lang="en-US"/>
            </a:p>
          </p:txBody>
        </p:sp>
        <p:sp>
          <p:nvSpPr>
            <p:cNvPr id="159" name="Freeform 249"/>
            <p:cNvSpPr>
              <a:spLocks/>
            </p:cNvSpPr>
            <p:nvPr>
              <p:custDataLst>
                <p:tags r:id="rId97"/>
              </p:custDataLst>
            </p:nvPr>
          </p:nvSpPr>
          <p:spPr bwMode="auto">
            <a:xfrm>
              <a:off x="4784627" y="3813182"/>
              <a:ext cx="73477" cy="73478"/>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noFill/>
            <a:ln w="9525" cmpd="sng">
              <a:solidFill>
                <a:schemeClr val="tx2"/>
              </a:solidFill>
              <a:prstDash val="solid"/>
              <a:round/>
              <a:headEnd/>
              <a:tailEnd/>
            </a:ln>
          </p:spPr>
          <p:txBody>
            <a:bodyPr/>
            <a:lstStyle/>
            <a:p>
              <a:endParaRPr lang="en-US"/>
            </a:p>
          </p:txBody>
        </p:sp>
        <p:sp>
          <p:nvSpPr>
            <p:cNvPr id="160" name="Freeform 250"/>
            <p:cNvSpPr>
              <a:spLocks/>
            </p:cNvSpPr>
            <p:nvPr>
              <p:custDataLst>
                <p:tags r:id="rId98"/>
              </p:custDataLst>
            </p:nvPr>
          </p:nvSpPr>
          <p:spPr bwMode="auto">
            <a:xfrm>
              <a:off x="4761534" y="3813182"/>
              <a:ext cx="201538" cy="266618"/>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noFill/>
            <a:ln w="9525" cmpd="sng">
              <a:solidFill>
                <a:schemeClr val="tx2"/>
              </a:solidFill>
              <a:prstDash val="solid"/>
              <a:round/>
              <a:headEnd/>
              <a:tailEnd/>
            </a:ln>
          </p:spPr>
          <p:txBody>
            <a:bodyPr/>
            <a:lstStyle/>
            <a:p>
              <a:endParaRPr lang="en-US"/>
            </a:p>
          </p:txBody>
        </p:sp>
        <p:sp>
          <p:nvSpPr>
            <p:cNvPr id="161" name="Freeform 251"/>
            <p:cNvSpPr>
              <a:spLocks/>
            </p:cNvSpPr>
            <p:nvPr>
              <p:custDataLst>
                <p:tags r:id="rId99"/>
              </p:custDataLst>
            </p:nvPr>
          </p:nvSpPr>
          <p:spPr bwMode="auto">
            <a:xfrm>
              <a:off x="5466915" y="4348516"/>
              <a:ext cx="344293" cy="688586"/>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noFill/>
            <a:ln w="9525" cmpd="sng">
              <a:solidFill>
                <a:schemeClr val="tx2"/>
              </a:solidFill>
              <a:prstDash val="solid"/>
              <a:round/>
              <a:headEnd/>
              <a:tailEnd/>
            </a:ln>
          </p:spPr>
          <p:txBody>
            <a:bodyPr/>
            <a:lstStyle/>
            <a:p>
              <a:endParaRPr lang="en-US"/>
            </a:p>
          </p:txBody>
        </p:sp>
        <p:sp>
          <p:nvSpPr>
            <p:cNvPr id="162" name="Freeform 252"/>
            <p:cNvSpPr>
              <a:spLocks/>
            </p:cNvSpPr>
            <p:nvPr>
              <p:custDataLst>
                <p:tags r:id="rId100"/>
              </p:custDataLst>
            </p:nvPr>
          </p:nvSpPr>
          <p:spPr bwMode="auto">
            <a:xfrm>
              <a:off x="5116324" y="4665517"/>
              <a:ext cx="314902" cy="379983"/>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noFill/>
            <a:ln w="9525" cmpd="sng">
              <a:solidFill>
                <a:schemeClr val="tx2"/>
              </a:solidFill>
              <a:prstDash val="solid"/>
              <a:round/>
              <a:headEnd/>
              <a:tailEnd/>
            </a:ln>
          </p:spPr>
          <p:txBody>
            <a:bodyPr/>
            <a:lstStyle/>
            <a:p>
              <a:endParaRPr lang="en-US"/>
            </a:p>
          </p:txBody>
        </p:sp>
        <p:sp>
          <p:nvSpPr>
            <p:cNvPr id="163" name="Freeform 253"/>
            <p:cNvSpPr>
              <a:spLocks/>
            </p:cNvSpPr>
            <p:nvPr>
              <p:custDataLst>
                <p:tags r:id="rId101"/>
              </p:custDataLst>
            </p:nvPr>
          </p:nvSpPr>
          <p:spPr bwMode="auto">
            <a:xfrm>
              <a:off x="5874189" y="4403099"/>
              <a:ext cx="260319" cy="575222"/>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noFill/>
            <a:ln w="9525" cmpd="sng">
              <a:solidFill>
                <a:schemeClr val="tx2"/>
              </a:solidFill>
              <a:prstDash val="solid"/>
              <a:round/>
              <a:headEnd/>
              <a:tailEnd/>
            </a:ln>
          </p:spPr>
          <p:txBody>
            <a:bodyPr/>
            <a:lstStyle/>
            <a:p>
              <a:endParaRPr lang="en-US"/>
            </a:p>
          </p:txBody>
        </p:sp>
        <p:sp>
          <p:nvSpPr>
            <p:cNvPr id="164" name="Freeform 254"/>
            <p:cNvSpPr>
              <a:spLocks/>
            </p:cNvSpPr>
            <p:nvPr>
              <p:custDataLst>
                <p:tags r:id="rId102"/>
              </p:custDataLst>
            </p:nvPr>
          </p:nvSpPr>
          <p:spPr bwMode="auto">
            <a:xfrm>
              <a:off x="5445922" y="4004223"/>
              <a:ext cx="48286" cy="88173"/>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noFill/>
            <a:ln w="9525" cmpd="sng">
              <a:solidFill>
                <a:schemeClr val="tx2"/>
              </a:solidFill>
              <a:prstDash val="solid"/>
              <a:round/>
              <a:headEnd/>
              <a:tailEnd/>
            </a:ln>
          </p:spPr>
          <p:txBody>
            <a:bodyPr/>
            <a:lstStyle/>
            <a:p>
              <a:endParaRPr lang="en-US"/>
            </a:p>
          </p:txBody>
        </p:sp>
        <p:sp>
          <p:nvSpPr>
            <p:cNvPr id="165" name="Freeform 255"/>
            <p:cNvSpPr>
              <a:spLocks/>
            </p:cNvSpPr>
            <p:nvPr>
              <p:custDataLst>
                <p:tags r:id="rId103"/>
              </p:custDataLst>
            </p:nvPr>
          </p:nvSpPr>
          <p:spPr bwMode="auto">
            <a:xfrm>
              <a:off x="5431227" y="3951739"/>
              <a:ext cx="73477" cy="7977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noFill/>
            <a:ln w="9525" cmpd="sng">
              <a:solidFill>
                <a:schemeClr val="tx2"/>
              </a:solidFill>
              <a:prstDash val="solid"/>
              <a:round/>
              <a:headEnd/>
              <a:tailEnd/>
            </a:ln>
          </p:spPr>
          <p:txBody>
            <a:bodyPr/>
            <a:lstStyle/>
            <a:p>
              <a:endParaRPr lang="en-US"/>
            </a:p>
          </p:txBody>
        </p:sp>
        <p:sp>
          <p:nvSpPr>
            <p:cNvPr id="166" name="Freeform 256"/>
            <p:cNvSpPr>
              <a:spLocks/>
            </p:cNvSpPr>
            <p:nvPr>
              <p:custDataLst>
                <p:tags r:id="rId104"/>
              </p:custDataLst>
            </p:nvPr>
          </p:nvSpPr>
          <p:spPr bwMode="auto">
            <a:xfrm>
              <a:off x="5840599" y="2232373"/>
              <a:ext cx="665494" cy="625606"/>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noFill/>
            <a:ln w="9525" cmpd="sng">
              <a:solidFill>
                <a:schemeClr val="tx2"/>
              </a:solidFill>
              <a:prstDash val="solid"/>
              <a:round/>
              <a:headEnd/>
              <a:tailEnd/>
            </a:ln>
          </p:spPr>
          <p:txBody>
            <a:bodyPr/>
            <a:lstStyle/>
            <a:p>
              <a:endParaRPr lang="en-US"/>
            </a:p>
          </p:txBody>
        </p:sp>
        <p:sp>
          <p:nvSpPr>
            <p:cNvPr id="167" name="Freeform 257"/>
            <p:cNvSpPr>
              <a:spLocks/>
            </p:cNvSpPr>
            <p:nvPr>
              <p:custDataLst>
                <p:tags r:id="rId105"/>
              </p:custDataLst>
            </p:nvPr>
          </p:nvSpPr>
          <p:spPr bwMode="auto">
            <a:xfrm>
              <a:off x="5872090" y="3101503"/>
              <a:ext cx="327499" cy="302306"/>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noFill/>
            <a:ln w="9525" cmpd="sng">
              <a:solidFill>
                <a:schemeClr val="tx2"/>
              </a:solidFill>
              <a:prstDash val="solid"/>
              <a:round/>
              <a:headEnd/>
              <a:tailEnd/>
            </a:ln>
          </p:spPr>
          <p:txBody>
            <a:bodyPr/>
            <a:lstStyle/>
            <a:p>
              <a:endParaRPr lang="en-US"/>
            </a:p>
          </p:txBody>
        </p:sp>
        <p:sp>
          <p:nvSpPr>
            <p:cNvPr id="168" name="Freeform 258"/>
            <p:cNvSpPr>
              <a:spLocks/>
            </p:cNvSpPr>
            <p:nvPr>
              <p:custDataLst>
                <p:tags r:id="rId106"/>
              </p:custDataLst>
            </p:nvPr>
          </p:nvSpPr>
          <p:spPr bwMode="auto">
            <a:xfrm>
              <a:off x="6130310" y="2803396"/>
              <a:ext cx="159551" cy="1595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169" name="Freeform 259"/>
            <p:cNvSpPr>
              <a:spLocks/>
            </p:cNvSpPr>
            <p:nvPr>
              <p:custDataLst>
                <p:tags r:id="rId107"/>
              </p:custDataLst>
            </p:nvPr>
          </p:nvSpPr>
          <p:spPr bwMode="auto">
            <a:xfrm>
              <a:off x="5716738" y="2343638"/>
              <a:ext cx="293909" cy="348492"/>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noFill/>
            <a:ln w="9525" cmpd="sng">
              <a:solidFill>
                <a:schemeClr val="tx2"/>
              </a:solidFill>
              <a:prstDash val="solid"/>
              <a:round/>
              <a:headEnd/>
              <a:tailEnd/>
            </a:ln>
          </p:spPr>
          <p:txBody>
            <a:bodyPr/>
            <a:lstStyle/>
            <a:p>
              <a:endParaRPr lang="en-US"/>
            </a:p>
          </p:txBody>
        </p:sp>
        <p:sp>
          <p:nvSpPr>
            <p:cNvPr id="170" name="Freeform 260"/>
            <p:cNvSpPr>
              <a:spLocks/>
            </p:cNvSpPr>
            <p:nvPr>
              <p:custDataLst>
                <p:tags r:id="rId108"/>
              </p:custDataLst>
            </p:nvPr>
          </p:nvSpPr>
          <p:spPr bwMode="auto">
            <a:xfrm>
              <a:off x="6378033" y="2291155"/>
              <a:ext cx="438765" cy="384180"/>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noFill/>
            <a:ln w="9525" cmpd="sng">
              <a:solidFill>
                <a:schemeClr val="tx2"/>
              </a:solidFill>
              <a:prstDash val="solid"/>
              <a:round/>
              <a:headEnd/>
              <a:tailEnd/>
            </a:ln>
          </p:spPr>
          <p:txBody>
            <a:bodyPr/>
            <a:lstStyle/>
            <a:p>
              <a:endParaRPr lang="en-US"/>
            </a:p>
          </p:txBody>
        </p:sp>
        <p:sp>
          <p:nvSpPr>
            <p:cNvPr id="171" name="Freeform 261"/>
            <p:cNvSpPr>
              <a:spLocks/>
            </p:cNvSpPr>
            <p:nvPr>
              <p:custDataLst>
                <p:tags r:id="rId109"/>
              </p:custDataLst>
            </p:nvPr>
          </p:nvSpPr>
          <p:spPr bwMode="auto">
            <a:xfrm>
              <a:off x="6420020" y="2356234"/>
              <a:ext cx="482850" cy="560527"/>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172" name="Freeform 262"/>
            <p:cNvSpPr>
              <a:spLocks/>
            </p:cNvSpPr>
            <p:nvPr>
              <p:custDataLst>
                <p:tags r:id="rId110"/>
              </p:custDataLst>
            </p:nvPr>
          </p:nvSpPr>
          <p:spPr bwMode="auto">
            <a:xfrm>
              <a:off x="7465496" y="2711024"/>
              <a:ext cx="291810" cy="774659"/>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173" name="Freeform 263"/>
            <p:cNvSpPr>
              <a:spLocks/>
            </p:cNvSpPr>
            <p:nvPr>
              <p:custDataLst>
                <p:tags r:id="rId111"/>
              </p:custDataLst>
            </p:nvPr>
          </p:nvSpPr>
          <p:spPr bwMode="auto">
            <a:xfrm>
              <a:off x="3925992" y="3384915"/>
              <a:ext cx="107067" cy="77677"/>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noFill/>
            <a:ln w="9525" cmpd="sng">
              <a:solidFill>
                <a:schemeClr val="tx2"/>
              </a:solidFill>
              <a:prstDash val="solid"/>
              <a:round/>
              <a:headEnd/>
              <a:tailEnd/>
            </a:ln>
          </p:spPr>
          <p:txBody>
            <a:bodyPr/>
            <a:lstStyle/>
            <a:p>
              <a:endParaRPr lang="en-US"/>
            </a:p>
          </p:txBody>
        </p:sp>
        <p:sp>
          <p:nvSpPr>
            <p:cNvPr id="174" name="Freeform 264"/>
            <p:cNvSpPr>
              <a:spLocks/>
            </p:cNvSpPr>
            <p:nvPr>
              <p:custDataLst>
                <p:tags r:id="rId112"/>
              </p:custDataLst>
            </p:nvPr>
          </p:nvSpPr>
          <p:spPr bwMode="auto">
            <a:xfrm>
              <a:off x="4037259" y="3494081"/>
              <a:ext cx="98669" cy="132260"/>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noFill/>
            <a:ln w="9525" cmpd="sng">
              <a:solidFill>
                <a:schemeClr val="tx2"/>
              </a:solidFill>
              <a:prstDash val="solid"/>
              <a:round/>
              <a:headEnd/>
              <a:tailEnd/>
            </a:ln>
          </p:spPr>
          <p:txBody>
            <a:bodyPr/>
            <a:lstStyle/>
            <a:p>
              <a:endParaRPr lang="en-US"/>
            </a:p>
          </p:txBody>
        </p:sp>
        <p:sp>
          <p:nvSpPr>
            <p:cNvPr id="175" name="Freeform 265"/>
            <p:cNvSpPr>
              <a:spLocks/>
            </p:cNvSpPr>
            <p:nvPr>
              <p:custDataLst>
                <p:tags r:id="rId113"/>
              </p:custDataLst>
            </p:nvPr>
          </p:nvSpPr>
          <p:spPr bwMode="auto">
            <a:xfrm>
              <a:off x="4093940" y="3561260"/>
              <a:ext cx="138557" cy="174247"/>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noFill/>
            <a:ln w="9525" cmpd="sng">
              <a:solidFill>
                <a:schemeClr val="tx2"/>
              </a:solidFill>
              <a:prstDash val="solid"/>
              <a:round/>
              <a:headEnd/>
              <a:tailEnd/>
            </a:ln>
          </p:spPr>
          <p:txBody>
            <a:bodyPr/>
            <a:lstStyle/>
            <a:p>
              <a:endParaRPr lang="en-US"/>
            </a:p>
          </p:txBody>
        </p:sp>
        <p:sp>
          <p:nvSpPr>
            <p:cNvPr id="176" name="Freeform 266"/>
            <p:cNvSpPr>
              <a:spLocks/>
            </p:cNvSpPr>
            <p:nvPr>
              <p:custDataLst>
                <p:tags r:id="rId114"/>
              </p:custDataLst>
            </p:nvPr>
          </p:nvSpPr>
          <p:spPr bwMode="auto">
            <a:xfrm>
              <a:off x="4377353" y="3454194"/>
              <a:ext cx="138557" cy="266617"/>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noFill/>
            <a:ln w="9525" cmpd="sng">
              <a:solidFill>
                <a:schemeClr val="tx2"/>
              </a:solidFill>
              <a:prstDash val="solid"/>
              <a:round/>
              <a:headEnd/>
              <a:tailEnd/>
            </a:ln>
          </p:spPr>
          <p:txBody>
            <a:bodyPr/>
            <a:lstStyle/>
            <a:p>
              <a:endParaRPr lang="en-US"/>
            </a:p>
          </p:txBody>
        </p:sp>
        <p:sp>
          <p:nvSpPr>
            <p:cNvPr id="177" name="Freeform 267"/>
            <p:cNvSpPr>
              <a:spLocks/>
            </p:cNvSpPr>
            <p:nvPr>
              <p:custDataLst>
                <p:tags r:id="rId115"/>
              </p:custDataLst>
            </p:nvPr>
          </p:nvSpPr>
          <p:spPr bwMode="auto">
            <a:xfrm>
              <a:off x="3917595" y="3342928"/>
              <a:ext cx="115465" cy="77677"/>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noFill/>
            <a:ln w="9525" cmpd="sng">
              <a:solidFill>
                <a:schemeClr val="tx2"/>
              </a:solidFill>
              <a:prstDash val="solid"/>
              <a:round/>
              <a:headEnd/>
              <a:tailEnd/>
            </a:ln>
          </p:spPr>
          <p:txBody>
            <a:bodyPr/>
            <a:lstStyle/>
            <a:p>
              <a:endParaRPr lang="en-US"/>
            </a:p>
          </p:txBody>
        </p:sp>
        <p:sp>
          <p:nvSpPr>
            <p:cNvPr id="178" name="Freeform 268"/>
            <p:cNvSpPr>
              <a:spLocks/>
            </p:cNvSpPr>
            <p:nvPr>
              <p:custDataLst>
                <p:tags r:id="rId116"/>
              </p:custDataLst>
            </p:nvPr>
          </p:nvSpPr>
          <p:spPr bwMode="auto">
            <a:xfrm>
              <a:off x="4480221" y="3445796"/>
              <a:ext cx="56683" cy="205736"/>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noFill/>
            <a:ln w="9525" cmpd="sng">
              <a:solidFill>
                <a:schemeClr val="tx2"/>
              </a:solidFill>
              <a:prstDash val="solid"/>
              <a:round/>
              <a:headEnd/>
              <a:tailEnd/>
            </a:ln>
          </p:spPr>
          <p:txBody>
            <a:bodyPr/>
            <a:lstStyle/>
            <a:p>
              <a:endParaRPr lang="en-US"/>
            </a:p>
          </p:txBody>
        </p:sp>
        <p:sp>
          <p:nvSpPr>
            <p:cNvPr id="179" name="Freeform 269"/>
            <p:cNvSpPr>
              <a:spLocks/>
            </p:cNvSpPr>
            <p:nvPr>
              <p:custDataLst>
                <p:tags r:id="rId117"/>
              </p:custDataLst>
            </p:nvPr>
          </p:nvSpPr>
          <p:spPr bwMode="auto">
            <a:xfrm>
              <a:off x="4513810" y="3395412"/>
              <a:ext cx="100769" cy="24982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noFill/>
            <a:ln w="9525" cmpd="sng">
              <a:solidFill>
                <a:schemeClr val="tx2"/>
              </a:solidFill>
              <a:prstDash val="solid"/>
              <a:round/>
              <a:headEnd/>
              <a:tailEnd/>
            </a:ln>
          </p:spPr>
          <p:txBody>
            <a:bodyPr/>
            <a:lstStyle/>
            <a:p>
              <a:endParaRPr lang="en-US"/>
            </a:p>
          </p:txBody>
        </p:sp>
        <p:sp>
          <p:nvSpPr>
            <p:cNvPr id="180" name="Freeform 270"/>
            <p:cNvSpPr>
              <a:spLocks/>
            </p:cNvSpPr>
            <p:nvPr>
              <p:custDataLst>
                <p:tags r:id="rId118"/>
              </p:custDataLst>
            </p:nvPr>
          </p:nvSpPr>
          <p:spPr bwMode="auto">
            <a:xfrm>
              <a:off x="5477412" y="4988817"/>
              <a:ext cx="33590" cy="7977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noFill/>
            <a:ln w="9525" cmpd="sng">
              <a:solidFill>
                <a:schemeClr val="tx2"/>
              </a:solidFill>
              <a:prstDash val="solid"/>
              <a:round/>
              <a:headEnd/>
              <a:tailEnd/>
            </a:ln>
          </p:spPr>
          <p:txBody>
            <a:bodyPr/>
            <a:lstStyle/>
            <a:p>
              <a:endParaRPr lang="en-US"/>
            </a:p>
          </p:txBody>
        </p:sp>
        <p:sp>
          <p:nvSpPr>
            <p:cNvPr id="181" name="Freeform 271"/>
            <p:cNvSpPr>
              <a:spLocks/>
            </p:cNvSpPr>
            <p:nvPr>
              <p:custDataLst>
                <p:tags r:id="rId119"/>
              </p:custDataLst>
            </p:nvPr>
          </p:nvSpPr>
          <p:spPr bwMode="auto">
            <a:xfrm>
              <a:off x="5338855" y="5116878"/>
              <a:ext cx="81874" cy="75577"/>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noFill/>
            <a:ln w="9525" cmpd="sng">
              <a:solidFill>
                <a:schemeClr val="tx2"/>
              </a:solidFill>
              <a:prstDash val="solid"/>
              <a:round/>
              <a:headEnd/>
              <a:tailEnd/>
            </a:ln>
          </p:spPr>
          <p:txBody>
            <a:bodyPr/>
            <a:lstStyle/>
            <a:p>
              <a:endParaRPr lang="en-US"/>
            </a:p>
          </p:txBody>
        </p:sp>
        <p:sp>
          <p:nvSpPr>
            <p:cNvPr id="182" name="Freeform 272"/>
            <p:cNvSpPr>
              <a:spLocks/>
            </p:cNvSpPr>
            <p:nvPr>
              <p:custDataLst>
                <p:tags r:id="rId120"/>
              </p:custDataLst>
            </p:nvPr>
          </p:nvSpPr>
          <p:spPr bwMode="auto">
            <a:xfrm>
              <a:off x="8271646" y="2093816"/>
              <a:ext cx="159551" cy="22673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noFill/>
            <a:ln w="9525" cmpd="sng">
              <a:solidFill>
                <a:schemeClr val="tx2"/>
              </a:solidFill>
              <a:prstDash val="solid"/>
              <a:round/>
              <a:headEnd/>
              <a:tailEnd/>
            </a:ln>
          </p:spPr>
          <p:txBody>
            <a:bodyPr/>
            <a:lstStyle/>
            <a:p>
              <a:endParaRPr lang="en-US"/>
            </a:p>
          </p:txBody>
        </p:sp>
        <p:sp>
          <p:nvSpPr>
            <p:cNvPr id="183" name="Freeform 273"/>
            <p:cNvSpPr>
              <a:spLocks/>
            </p:cNvSpPr>
            <p:nvPr>
              <p:custDataLst>
                <p:tags r:id="rId121"/>
              </p:custDataLst>
            </p:nvPr>
          </p:nvSpPr>
          <p:spPr bwMode="auto">
            <a:xfrm>
              <a:off x="7043527" y="2641745"/>
              <a:ext cx="272915" cy="163749"/>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noFill/>
            <a:ln w="9525" cmpd="sng">
              <a:solidFill>
                <a:schemeClr val="tx2"/>
              </a:solidFill>
              <a:prstDash val="solid"/>
              <a:round/>
              <a:headEnd/>
              <a:tailEnd/>
            </a:ln>
          </p:spPr>
          <p:txBody>
            <a:bodyPr/>
            <a:lstStyle/>
            <a:p>
              <a:endParaRPr lang="en-US"/>
            </a:p>
          </p:txBody>
        </p:sp>
        <p:sp>
          <p:nvSpPr>
            <p:cNvPr id="184" name="Freeform 274"/>
            <p:cNvSpPr>
              <a:spLocks/>
            </p:cNvSpPr>
            <p:nvPr>
              <p:custDataLst>
                <p:tags r:id="rId122"/>
              </p:custDataLst>
            </p:nvPr>
          </p:nvSpPr>
          <p:spPr bwMode="auto">
            <a:xfrm>
              <a:off x="7329039" y="2715223"/>
              <a:ext cx="96570" cy="86073"/>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noFill/>
            <a:ln w="9525" cmpd="sng">
              <a:solidFill>
                <a:schemeClr val="tx2"/>
              </a:solidFill>
              <a:prstDash val="solid"/>
              <a:round/>
              <a:headEnd/>
              <a:tailEnd/>
            </a:ln>
          </p:spPr>
          <p:txBody>
            <a:bodyPr/>
            <a:lstStyle/>
            <a:p>
              <a:endParaRPr lang="en-US"/>
            </a:p>
          </p:txBody>
        </p:sp>
        <p:sp>
          <p:nvSpPr>
            <p:cNvPr id="185" name="Freeform 275"/>
            <p:cNvSpPr>
              <a:spLocks/>
            </p:cNvSpPr>
            <p:nvPr>
              <p:custDataLst>
                <p:tags r:id="rId123"/>
              </p:custDataLst>
            </p:nvPr>
          </p:nvSpPr>
          <p:spPr bwMode="auto">
            <a:xfrm>
              <a:off x="7316443" y="2809693"/>
              <a:ext cx="176345" cy="220432"/>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noFill/>
            <a:ln w="9525" cmpd="sng">
              <a:solidFill>
                <a:schemeClr val="tx2"/>
              </a:solidFill>
              <a:prstDash val="solid"/>
              <a:round/>
              <a:headEnd/>
              <a:tailEnd/>
            </a:ln>
          </p:spPr>
          <p:txBody>
            <a:bodyPr/>
            <a:lstStyle/>
            <a:p>
              <a:endParaRPr lang="en-US"/>
            </a:p>
          </p:txBody>
        </p:sp>
        <p:sp>
          <p:nvSpPr>
            <p:cNvPr id="186" name="Freeform 276"/>
            <p:cNvSpPr>
              <a:spLocks/>
            </p:cNvSpPr>
            <p:nvPr>
              <p:custDataLst>
                <p:tags r:id="rId124"/>
              </p:custDataLst>
            </p:nvPr>
          </p:nvSpPr>
          <p:spPr bwMode="auto">
            <a:xfrm>
              <a:off x="7736313" y="2962946"/>
              <a:ext cx="266617" cy="356889"/>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noFill/>
            <a:ln w="9525" cmpd="sng">
              <a:solidFill>
                <a:schemeClr val="tx2"/>
              </a:solidFill>
              <a:prstDash val="solid"/>
              <a:round/>
              <a:headEnd/>
              <a:tailEnd/>
            </a:ln>
          </p:spPr>
          <p:txBody>
            <a:bodyPr/>
            <a:lstStyle/>
            <a:p>
              <a:endParaRPr lang="en-US"/>
            </a:p>
          </p:txBody>
        </p:sp>
        <p:sp>
          <p:nvSpPr>
            <p:cNvPr id="187" name="Freeform 277"/>
            <p:cNvSpPr>
              <a:spLocks/>
            </p:cNvSpPr>
            <p:nvPr>
              <p:custDataLst>
                <p:tags r:id="rId125"/>
              </p:custDataLst>
            </p:nvPr>
          </p:nvSpPr>
          <p:spPr bwMode="auto">
            <a:xfrm>
              <a:off x="7845479" y="3294643"/>
              <a:ext cx="176345" cy="172147"/>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noFill/>
            <a:ln w="9525" cmpd="sng">
              <a:solidFill>
                <a:schemeClr val="tx2"/>
              </a:solidFill>
              <a:prstDash val="solid"/>
              <a:round/>
              <a:headEnd/>
              <a:tailEnd/>
            </a:ln>
          </p:spPr>
          <p:txBody>
            <a:bodyPr/>
            <a:lstStyle/>
            <a:p>
              <a:endParaRPr lang="en-US"/>
            </a:p>
          </p:txBody>
        </p:sp>
        <p:sp>
          <p:nvSpPr>
            <p:cNvPr id="188" name="Freeform 278"/>
            <p:cNvSpPr>
              <a:spLocks/>
            </p:cNvSpPr>
            <p:nvPr>
              <p:custDataLst>
                <p:tags r:id="rId126"/>
              </p:custDataLst>
            </p:nvPr>
          </p:nvSpPr>
          <p:spPr bwMode="auto">
            <a:xfrm>
              <a:off x="8376614" y="2284856"/>
              <a:ext cx="113365" cy="172147"/>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noFill/>
            <a:ln w="9525" cmpd="sng">
              <a:solidFill>
                <a:schemeClr val="tx2"/>
              </a:solidFill>
              <a:prstDash val="solid"/>
              <a:round/>
              <a:headEnd/>
              <a:tailEnd/>
            </a:ln>
          </p:spPr>
          <p:txBody>
            <a:bodyPr/>
            <a:lstStyle/>
            <a:p>
              <a:endParaRPr lang="en-US"/>
            </a:p>
          </p:txBody>
        </p:sp>
        <p:sp>
          <p:nvSpPr>
            <p:cNvPr id="189" name="Freeform 279"/>
            <p:cNvSpPr>
              <a:spLocks/>
            </p:cNvSpPr>
            <p:nvPr>
              <p:custDataLst>
                <p:tags r:id="rId127"/>
              </p:custDataLst>
            </p:nvPr>
          </p:nvSpPr>
          <p:spPr bwMode="auto">
            <a:xfrm>
              <a:off x="9128181" y="4000025"/>
              <a:ext cx="306505" cy="335896"/>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noFill/>
            <a:ln w="9525" cmpd="sng">
              <a:solidFill>
                <a:schemeClr val="tx2"/>
              </a:solidFill>
              <a:prstDash val="solid"/>
              <a:round/>
              <a:headEnd/>
              <a:tailEnd/>
            </a:ln>
          </p:spPr>
          <p:txBody>
            <a:bodyPr/>
            <a:lstStyle/>
            <a:p>
              <a:endParaRPr lang="en-US"/>
            </a:p>
          </p:txBody>
        </p:sp>
        <p:sp>
          <p:nvSpPr>
            <p:cNvPr id="190" name="Freeform 280"/>
            <p:cNvSpPr>
              <a:spLocks/>
            </p:cNvSpPr>
            <p:nvPr>
              <p:custDataLst>
                <p:tags r:id="rId128"/>
              </p:custDataLst>
            </p:nvPr>
          </p:nvSpPr>
          <p:spPr bwMode="auto">
            <a:xfrm>
              <a:off x="9382203" y="3979031"/>
              <a:ext cx="140656" cy="17004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noFill/>
            <a:ln w="9525" cmpd="sng">
              <a:solidFill>
                <a:schemeClr val="tx2"/>
              </a:solidFill>
              <a:prstDash val="solid"/>
              <a:round/>
              <a:headEnd/>
              <a:tailEnd/>
            </a:ln>
          </p:spPr>
          <p:txBody>
            <a:bodyPr/>
            <a:lstStyle/>
            <a:p>
              <a:endParaRPr lang="en-US"/>
            </a:p>
          </p:txBody>
        </p:sp>
        <p:sp>
          <p:nvSpPr>
            <p:cNvPr id="191" name="Freeform 281"/>
            <p:cNvSpPr>
              <a:spLocks/>
            </p:cNvSpPr>
            <p:nvPr>
              <p:custDataLst>
                <p:tags r:id="rId129"/>
              </p:custDataLst>
            </p:nvPr>
          </p:nvSpPr>
          <p:spPr bwMode="auto">
            <a:xfrm>
              <a:off x="7102309" y="3494081"/>
              <a:ext cx="83974" cy="157452"/>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grpSp>
          <p:nvGrpSpPr>
            <p:cNvPr id="192" name="Group 282"/>
            <p:cNvGrpSpPr>
              <a:grpSpLocks/>
            </p:cNvGrpSpPr>
            <p:nvPr>
              <p:custDataLst>
                <p:tags r:id="rId130"/>
              </p:custDataLst>
            </p:nvPr>
          </p:nvGrpSpPr>
          <p:grpSpPr bwMode="auto">
            <a:xfrm>
              <a:off x="8345124" y="3111999"/>
              <a:ext cx="308604" cy="581520"/>
              <a:chOff x="5062" y="2295"/>
              <a:chExt cx="177" cy="279"/>
            </a:xfrm>
            <a:solidFill>
              <a:schemeClr val="tx2">
                <a:lumMod val="20000"/>
                <a:lumOff val="80000"/>
              </a:schemeClr>
            </a:solidFill>
          </p:grpSpPr>
          <p:sp>
            <p:nvSpPr>
              <p:cNvPr id="193"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194"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195"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196"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197"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198"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199"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200"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201"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202"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203"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204"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205"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206"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207"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208" name="Line 298"/>
              <p:cNvSpPr>
                <a:spLocks noChangeShapeType="1"/>
              </p:cNvSpPr>
              <p:nvPr/>
            </p:nvSpPr>
            <p:spPr bwMode="auto">
              <a:xfrm>
                <a:off x="5180" y="2449"/>
                <a:ext cx="1" cy="10"/>
              </a:xfrm>
              <a:prstGeom prst="line">
                <a:avLst/>
              </a:pr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209"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210" name="Line 300"/>
              <p:cNvSpPr>
                <a:spLocks noChangeShapeType="1"/>
              </p:cNvSpPr>
              <p:nvPr/>
            </p:nvSpPr>
            <p:spPr bwMode="auto">
              <a:xfrm flipH="1" flipV="1">
                <a:off x="5178" y="2447"/>
                <a:ext cx="6" cy="6"/>
              </a:xfrm>
              <a:prstGeom prst="line">
                <a:avLst/>
              </a:pr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211"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212"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213"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214"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215"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216" name="Line 306"/>
              <p:cNvSpPr>
                <a:spLocks noChangeShapeType="1"/>
              </p:cNvSpPr>
              <p:nvPr/>
            </p:nvSpPr>
            <p:spPr bwMode="auto">
              <a:xfrm flipV="1">
                <a:off x="5191" y="2516"/>
                <a:ext cx="6" cy="2"/>
              </a:xfrm>
              <a:prstGeom prst="line">
                <a:avLst/>
              </a:pr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grpSp>
        <p:sp>
          <p:nvSpPr>
            <p:cNvPr id="217" name="Freeform 307"/>
            <p:cNvSpPr>
              <a:spLocks/>
            </p:cNvSpPr>
            <p:nvPr>
              <p:custDataLst>
                <p:tags r:id="rId131"/>
              </p:custDataLst>
            </p:nvPr>
          </p:nvSpPr>
          <p:spPr bwMode="auto">
            <a:xfrm>
              <a:off x="8800682" y="4195263"/>
              <a:ext cx="18895" cy="73478"/>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18" name="Freeform 308"/>
            <p:cNvSpPr>
              <a:spLocks/>
            </p:cNvSpPr>
            <p:nvPr>
              <p:custDataLst>
                <p:tags r:id="rId132"/>
              </p:custDataLst>
            </p:nvPr>
          </p:nvSpPr>
          <p:spPr bwMode="auto">
            <a:xfrm>
              <a:off x="8901451" y="4115488"/>
              <a:ext cx="29391" cy="77677"/>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19" name="Freeform 309"/>
            <p:cNvSpPr>
              <a:spLocks/>
            </p:cNvSpPr>
            <p:nvPr>
              <p:custDataLst>
                <p:tags r:id="rId133"/>
              </p:custDataLst>
            </p:nvPr>
          </p:nvSpPr>
          <p:spPr bwMode="auto">
            <a:xfrm>
              <a:off x="8964431" y="3955938"/>
              <a:ext cx="31491" cy="75577"/>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20" name="Freeform 310"/>
            <p:cNvSpPr>
              <a:spLocks/>
            </p:cNvSpPr>
            <p:nvPr>
              <p:custDataLst>
                <p:tags r:id="rId134"/>
              </p:custDataLst>
            </p:nvPr>
          </p:nvSpPr>
          <p:spPr bwMode="auto">
            <a:xfrm>
              <a:off x="8943438" y="3916051"/>
              <a:ext cx="33590" cy="75577"/>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21" name="Freeform 311"/>
            <p:cNvSpPr>
              <a:spLocks/>
            </p:cNvSpPr>
            <p:nvPr>
              <p:custDataLst>
                <p:tags r:id="rId135"/>
              </p:custDataLst>
            </p:nvPr>
          </p:nvSpPr>
          <p:spPr bwMode="auto">
            <a:xfrm>
              <a:off x="8712509" y="3779592"/>
              <a:ext cx="10497" cy="75577"/>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22" name="Freeform 312"/>
            <p:cNvSpPr>
              <a:spLocks/>
            </p:cNvSpPr>
            <p:nvPr>
              <p:custDataLst>
                <p:tags r:id="rId136"/>
              </p:custDataLst>
            </p:nvPr>
          </p:nvSpPr>
          <p:spPr bwMode="auto">
            <a:xfrm>
              <a:off x="8615939" y="3958038"/>
              <a:ext cx="39888" cy="77675"/>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23" name="Freeform 313"/>
            <p:cNvSpPr>
              <a:spLocks/>
            </p:cNvSpPr>
            <p:nvPr>
              <p:custDataLst>
                <p:tags r:id="rId137"/>
              </p:custDataLst>
            </p:nvPr>
          </p:nvSpPr>
          <p:spPr bwMode="auto">
            <a:xfrm>
              <a:off x="8626437" y="4203661"/>
              <a:ext cx="25192" cy="73478"/>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24" name="Freeform 314"/>
            <p:cNvSpPr>
              <a:spLocks/>
            </p:cNvSpPr>
            <p:nvPr>
              <p:custDataLst>
                <p:tags r:id="rId138"/>
              </p:custDataLst>
            </p:nvPr>
          </p:nvSpPr>
          <p:spPr bwMode="auto">
            <a:xfrm>
              <a:off x="8775490" y="3964335"/>
              <a:ext cx="14696" cy="75577"/>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25" name="Freeform 315"/>
            <p:cNvSpPr>
              <a:spLocks/>
            </p:cNvSpPr>
            <p:nvPr>
              <p:custDataLst>
                <p:tags r:id="rId139"/>
              </p:custDataLst>
            </p:nvPr>
          </p:nvSpPr>
          <p:spPr bwMode="auto">
            <a:xfrm>
              <a:off x="8590747" y="3958038"/>
              <a:ext cx="25192" cy="77675"/>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26" name="Freeform 316"/>
            <p:cNvSpPr>
              <a:spLocks/>
            </p:cNvSpPr>
            <p:nvPr>
              <p:custDataLst>
                <p:tags r:id="rId140"/>
              </p:custDataLst>
            </p:nvPr>
          </p:nvSpPr>
          <p:spPr bwMode="auto">
            <a:xfrm>
              <a:off x="8649529" y="4021018"/>
              <a:ext cx="39888" cy="75577"/>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27" name="Freeform 317"/>
            <p:cNvSpPr>
              <a:spLocks/>
            </p:cNvSpPr>
            <p:nvPr>
              <p:custDataLst>
                <p:tags r:id="rId141"/>
              </p:custDataLst>
            </p:nvPr>
          </p:nvSpPr>
          <p:spPr bwMode="auto">
            <a:xfrm>
              <a:off x="8387111" y="4289735"/>
              <a:ext cx="60880" cy="77675"/>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28" name="Freeform 318"/>
            <p:cNvSpPr>
              <a:spLocks/>
            </p:cNvSpPr>
            <p:nvPr>
              <p:custDataLst>
                <p:tags r:id="rId142"/>
              </p:custDataLst>
            </p:nvPr>
          </p:nvSpPr>
          <p:spPr bwMode="auto">
            <a:xfrm>
              <a:off x="8517271" y="4340119"/>
              <a:ext cx="18893" cy="77675"/>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29" name="Freeform 319"/>
            <p:cNvSpPr>
              <a:spLocks/>
            </p:cNvSpPr>
            <p:nvPr>
              <p:custDataLst>
                <p:tags r:id="rId143"/>
              </p:custDataLst>
            </p:nvPr>
          </p:nvSpPr>
          <p:spPr bwMode="auto">
            <a:xfrm>
              <a:off x="8296838" y="4249846"/>
              <a:ext cx="48286" cy="73478"/>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30" name="Freeform 320"/>
            <p:cNvSpPr>
              <a:spLocks/>
            </p:cNvSpPr>
            <p:nvPr>
              <p:custDataLst>
                <p:tags r:id="rId144"/>
              </p:custDataLst>
            </p:nvPr>
          </p:nvSpPr>
          <p:spPr bwMode="auto">
            <a:xfrm>
              <a:off x="8355620" y="4230953"/>
              <a:ext cx="52484" cy="73477"/>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31" name="Freeform 321"/>
            <p:cNvSpPr>
              <a:spLocks/>
            </p:cNvSpPr>
            <p:nvPr>
              <p:custDataLst>
                <p:tags r:id="rId145"/>
              </p:custDataLst>
            </p:nvPr>
          </p:nvSpPr>
          <p:spPr bwMode="auto">
            <a:xfrm>
              <a:off x="8424899" y="4243549"/>
              <a:ext cx="48284" cy="77675"/>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32" name="Freeform 322"/>
            <p:cNvSpPr>
              <a:spLocks/>
            </p:cNvSpPr>
            <p:nvPr>
              <p:custDataLst>
                <p:tags r:id="rId146"/>
              </p:custDataLst>
            </p:nvPr>
          </p:nvSpPr>
          <p:spPr bwMode="auto">
            <a:xfrm>
              <a:off x="8494177" y="4249846"/>
              <a:ext cx="33590" cy="73478"/>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33" name="Freeform 323"/>
            <p:cNvSpPr>
              <a:spLocks/>
            </p:cNvSpPr>
            <p:nvPr>
              <p:custDataLst>
                <p:tags r:id="rId147"/>
              </p:custDataLst>
            </p:nvPr>
          </p:nvSpPr>
          <p:spPr bwMode="auto">
            <a:xfrm>
              <a:off x="8590747" y="4239350"/>
              <a:ext cx="2100" cy="73477"/>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34" name="Freeform 324"/>
            <p:cNvSpPr>
              <a:spLocks/>
            </p:cNvSpPr>
            <p:nvPr>
              <p:custDataLst>
                <p:tags r:id="rId148"/>
              </p:custDataLst>
            </p:nvPr>
          </p:nvSpPr>
          <p:spPr bwMode="auto">
            <a:xfrm>
              <a:off x="8028122" y="3993726"/>
              <a:ext cx="27292" cy="77677"/>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35" name="Freeform 325"/>
            <p:cNvSpPr>
              <a:spLocks/>
            </p:cNvSpPr>
            <p:nvPr>
              <p:custDataLst>
                <p:tags r:id="rId149"/>
              </p:custDataLst>
            </p:nvPr>
          </p:nvSpPr>
          <p:spPr bwMode="auto">
            <a:xfrm>
              <a:off x="7956744" y="3958038"/>
              <a:ext cx="39888" cy="77675"/>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37" name="Line 327" descr="Horizontal dunkel"/>
            <p:cNvSpPr>
              <a:spLocks noChangeShapeType="1"/>
            </p:cNvSpPr>
            <p:nvPr>
              <p:custDataLst>
                <p:tags r:id="rId150"/>
              </p:custDataLst>
            </p:nvPr>
          </p:nvSpPr>
          <p:spPr bwMode="auto">
            <a:xfrm>
              <a:off x="7772001" y="3985328"/>
              <a:ext cx="6299" cy="8397"/>
            </a:xfrm>
            <a:prstGeom prst="line">
              <a:avLst/>
            </a:prstGeom>
            <a:noFill/>
            <a:ln w="9525">
              <a:solidFill>
                <a:schemeClr val="tx2"/>
              </a:solidFill>
              <a:round/>
              <a:headEnd/>
              <a:tailEnd/>
            </a:ln>
            <a:effectLst/>
          </p:spPr>
          <p:txBody>
            <a:bodyPr/>
            <a:lstStyle/>
            <a:p>
              <a:endParaRPr lang="en-US"/>
            </a:p>
          </p:txBody>
        </p:sp>
        <p:sp>
          <p:nvSpPr>
            <p:cNvPr id="240" name="Freeform 330"/>
            <p:cNvSpPr>
              <a:spLocks/>
            </p:cNvSpPr>
            <p:nvPr>
              <p:custDataLst>
                <p:tags r:id="rId151"/>
              </p:custDataLst>
            </p:nvPr>
          </p:nvSpPr>
          <p:spPr bwMode="auto">
            <a:xfrm>
              <a:off x="8336727" y="4260344"/>
              <a:ext cx="14695" cy="75577"/>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41" name="Freeform 331"/>
            <p:cNvSpPr>
              <a:spLocks/>
            </p:cNvSpPr>
            <p:nvPr>
              <p:custDataLst>
                <p:tags r:id="rId152"/>
              </p:custDataLst>
            </p:nvPr>
          </p:nvSpPr>
          <p:spPr bwMode="auto">
            <a:xfrm>
              <a:off x="9019015" y="4203661"/>
              <a:ext cx="37788" cy="73478"/>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42" name="Freeform 332"/>
            <p:cNvSpPr>
              <a:spLocks/>
            </p:cNvSpPr>
            <p:nvPr>
              <p:custDataLst>
                <p:tags r:id="rId153"/>
              </p:custDataLst>
            </p:nvPr>
          </p:nvSpPr>
          <p:spPr bwMode="auto">
            <a:xfrm>
              <a:off x="7614550" y="3651533"/>
              <a:ext cx="363187" cy="487049"/>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43" name="Freeform 333"/>
            <p:cNvSpPr>
              <a:spLocks/>
            </p:cNvSpPr>
            <p:nvPr>
              <p:custDataLst>
                <p:tags r:id="rId154"/>
              </p:custDataLst>
            </p:nvPr>
          </p:nvSpPr>
          <p:spPr bwMode="auto">
            <a:xfrm>
              <a:off x="8065910" y="3716612"/>
              <a:ext cx="335896" cy="340094"/>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44" name="Freeform 334"/>
            <p:cNvSpPr>
              <a:spLocks/>
            </p:cNvSpPr>
            <p:nvPr>
              <p:custDataLst>
                <p:tags r:id="rId155"/>
              </p:custDataLst>
            </p:nvPr>
          </p:nvSpPr>
          <p:spPr bwMode="auto">
            <a:xfrm>
              <a:off x="8536164" y="4254045"/>
              <a:ext cx="121762" cy="75577"/>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45" name="Freeform 335"/>
            <p:cNvSpPr>
              <a:spLocks/>
            </p:cNvSpPr>
            <p:nvPr>
              <p:custDataLst>
                <p:tags r:id="rId156"/>
              </p:custDataLst>
            </p:nvPr>
          </p:nvSpPr>
          <p:spPr bwMode="auto">
            <a:xfrm>
              <a:off x="8689417" y="3813182"/>
              <a:ext cx="56682" cy="117564"/>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46" name="Freeform 336"/>
            <p:cNvSpPr>
              <a:spLocks/>
            </p:cNvSpPr>
            <p:nvPr>
              <p:custDataLst>
                <p:tags r:id="rId157"/>
              </p:custDataLst>
            </p:nvPr>
          </p:nvSpPr>
          <p:spPr bwMode="auto">
            <a:xfrm>
              <a:off x="8706212" y="4004223"/>
              <a:ext cx="94470" cy="73477"/>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47" name="Freeform 337"/>
            <p:cNvSpPr>
              <a:spLocks/>
            </p:cNvSpPr>
            <p:nvPr>
              <p:custDataLst>
                <p:tags r:id="rId158"/>
              </p:custDataLst>
            </p:nvPr>
          </p:nvSpPr>
          <p:spPr bwMode="auto">
            <a:xfrm>
              <a:off x="8806981" y="3903454"/>
              <a:ext cx="113365" cy="83974"/>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48" name="Freeform 338"/>
            <p:cNvSpPr>
              <a:spLocks/>
            </p:cNvSpPr>
            <p:nvPr>
              <p:custDataLst>
                <p:tags r:id="rId159"/>
              </p:custDataLst>
            </p:nvPr>
          </p:nvSpPr>
          <p:spPr bwMode="auto">
            <a:xfrm>
              <a:off x="8395508" y="3821579"/>
              <a:ext cx="220431" cy="304406"/>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49" name="Freeform 339"/>
            <p:cNvSpPr>
              <a:spLocks/>
            </p:cNvSpPr>
            <p:nvPr>
              <p:custDataLst>
                <p:tags r:id="rId160"/>
              </p:custDataLst>
            </p:nvPr>
          </p:nvSpPr>
          <p:spPr bwMode="auto">
            <a:xfrm>
              <a:off x="7952545" y="4140680"/>
              <a:ext cx="331697" cy="125961"/>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50" name="Freeform 340"/>
            <p:cNvSpPr>
              <a:spLocks/>
            </p:cNvSpPr>
            <p:nvPr>
              <p:custDataLst>
                <p:tags r:id="rId161"/>
              </p:custDataLst>
            </p:nvPr>
          </p:nvSpPr>
          <p:spPr bwMode="auto">
            <a:xfrm>
              <a:off x="8853167" y="3951739"/>
              <a:ext cx="283412" cy="333797"/>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51" name="Freeform 341"/>
            <p:cNvSpPr>
              <a:spLocks/>
            </p:cNvSpPr>
            <p:nvPr>
              <p:custDataLst>
                <p:tags r:id="rId162"/>
              </p:custDataLst>
            </p:nvPr>
          </p:nvSpPr>
          <p:spPr bwMode="auto">
            <a:xfrm>
              <a:off x="6911268" y="2406618"/>
              <a:ext cx="71378" cy="7977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noFill/>
            <a:ln w="9525" cmpd="sng">
              <a:solidFill>
                <a:schemeClr val="tx2"/>
              </a:solidFill>
              <a:prstDash val="solid"/>
              <a:round/>
              <a:headEnd/>
              <a:tailEnd/>
            </a:ln>
          </p:spPr>
          <p:txBody>
            <a:bodyPr/>
            <a:lstStyle/>
            <a:p>
              <a:endParaRPr lang="en-US"/>
            </a:p>
          </p:txBody>
        </p:sp>
        <p:sp>
          <p:nvSpPr>
            <p:cNvPr id="252" name="Freeform 342"/>
            <p:cNvSpPr>
              <a:spLocks/>
            </p:cNvSpPr>
            <p:nvPr>
              <p:custDataLst>
                <p:tags r:id="rId163"/>
              </p:custDataLst>
            </p:nvPr>
          </p:nvSpPr>
          <p:spPr bwMode="auto">
            <a:xfrm>
              <a:off x="4870700" y="1619363"/>
              <a:ext cx="291810" cy="235127"/>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53" name="Freeform 343"/>
            <p:cNvSpPr>
              <a:spLocks/>
            </p:cNvSpPr>
            <p:nvPr>
              <p:custDataLst>
                <p:tags r:id="rId164"/>
              </p:custDataLst>
            </p:nvPr>
          </p:nvSpPr>
          <p:spPr bwMode="auto">
            <a:xfrm>
              <a:off x="4954674" y="1890178"/>
              <a:ext cx="193140" cy="94471"/>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254" name="Freeform 344"/>
            <p:cNvSpPr>
              <a:spLocks/>
            </p:cNvSpPr>
            <p:nvPr>
              <p:custDataLst>
                <p:tags r:id="rId165"/>
              </p:custDataLst>
            </p:nvPr>
          </p:nvSpPr>
          <p:spPr bwMode="auto">
            <a:xfrm>
              <a:off x="5086933" y="1434620"/>
              <a:ext cx="146954" cy="86073"/>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255" name="Freeform 345"/>
            <p:cNvSpPr>
              <a:spLocks/>
            </p:cNvSpPr>
            <p:nvPr>
              <p:custDataLst>
                <p:tags r:id="rId166"/>
              </p:custDataLst>
            </p:nvPr>
          </p:nvSpPr>
          <p:spPr bwMode="auto">
            <a:xfrm>
              <a:off x="5103728" y="1894377"/>
              <a:ext cx="237226" cy="188941"/>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007298"/>
            </a:solidFill>
            <a:ln w="9525" cmpd="sng">
              <a:solidFill>
                <a:schemeClr val="tx2"/>
              </a:solidFill>
              <a:prstDash val="solid"/>
              <a:round/>
              <a:headEnd/>
              <a:tailEnd/>
            </a:ln>
          </p:spPr>
          <p:txBody>
            <a:bodyPr/>
            <a:lstStyle/>
            <a:p>
              <a:endParaRPr lang="en-US"/>
            </a:p>
          </p:txBody>
        </p:sp>
        <p:sp>
          <p:nvSpPr>
            <p:cNvPr id="256" name="Freeform 346"/>
            <p:cNvSpPr>
              <a:spLocks/>
            </p:cNvSpPr>
            <p:nvPr>
              <p:custDataLst>
                <p:tags r:id="rId167"/>
              </p:custDataLst>
            </p:nvPr>
          </p:nvSpPr>
          <p:spPr bwMode="auto">
            <a:xfrm>
              <a:off x="2458548" y="3267351"/>
              <a:ext cx="18893" cy="73478"/>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noFill/>
            <a:ln w="9525" cmpd="sng">
              <a:solidFill>
                <a:schemeClr val="tx2"/>
              </a:solidFill>
              <a:prstDash val="solid"/>
              <a:round/>
              <a:headEnd/>
              <a:tailEnd/>
            </a:ln>
          </p:spPr>
          <p:txBody>
            <a:bodyPr/>
            <a:lstStyle/>
            <a:p>
              <a:endParaRPr lang="en-US"/>
            </a:p>
          </p:txBody>
        </p:sp>
        <p:sp>
          <p:nvSpPr>
            <p:cNvPr id="257" name="Freeform 347"/>
            <p:cNvSpPr>
              <a:spLocks/>
            </p:cNvSpPr>
            <p:nvPr>
              <p:custDataLst>
                <p:tags r:id="rId168"/>
              </p:custDataLst>
            </p:nvPr>
          </p:nvSpPr>
          <p:spPr bwMode="auto">
            <a:xfrm>
              <a:off x="5242285" y="1883881"/>
              <a:ext cx="113365" cy="104967"/>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noFill/>
            <a:ln w="9525" cmpd="sng">
              <a:solidFill>
                <a:schemeClr val="tx2"/>
              </a:solidFill>
              <a:prstDash val="solid"/>
              <a:round/>
              <a:headEnd/>
              <a:tailEnd/>
            </a:ln>
          </p:spPr>
          <p:txBody>
            <a:bodyPr/>
            <a:lstStyle/>
            <a:p>
              <a:endParaRPr lang="en-US"/>
            </a:p>
          </p:txBody>
        </p:sp>
        <p:sp>
          <p:nvSpPr>
            <p:cNvPr id="258" name="Freeform 348"/>
            <p:cNvSpPr>
              <a:spLocks/>
            </p:cNvSpPr>
            <p:nvPr>
              <p:custDataLst>
                <p:tags r:id="rId169"/>
              </p:custDataLst>
            </p:nvPr>
          </p:nvSpPr>
          <p:spPr bwMode="auto">
            <a:xfrm>
              <a:off x="5133119" y="1728529"/>
              <a:ext cx="503844" cy="327498"/>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59" name="Freeform 349"/>
            <p:cNvSpPr>
              <a:spLocks/>
            </p:cNvSpPr>
            <p:nvPr>
              <p:custDataLst>
                <p:tags r:id="rId170"/>
              </p:custDataLst>
            </p:nvPr>
          </p:nvSpPr>
          <p:spPr bwMode="auto">
            <a:xfrm>
              <a:off x="5809110" y="2181989"/>
              <a:ext cx="62980" cy="83974"/>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noFill/>
            <a:ln w="9525" cmpd="sng">
              <a:solidFill>
                <a:schemeClr val="tx2"/>
              </a:solidFill>
              <a:prstDash val="solid"/>
              <a:round/>
              <a:headEnd/>
              <a:tailEnd/>
            </a:ln>
          </p:spPr>
          <p:txBody>
            <a:bodyPr/>
            <a:lstStyle/>
            <a:p>
              <a:endParaRPr lang="en-US"/>
            </a:p>
          </p:txBody>
        </p:sp>
        <p:sp>
          <p:nvSpPr>
            <p:cNvPr id="260" name="Freeform 350"/>
            <p:cNvSpPr>
              <a:spLocks/>
            </p:cNvSpPr>
            <p:nvPr>
              <p:custDataLst>
                <p:tags r:id="rId171"/>
              </p:custDataLst>
            </p:nvPr>
          </p:nvSpPr>
          <p:spPr bwMode="auto">
            <a:xfrm>
              <a:off x="6527087" y="2200882"/>
              <a:ext cx="275014" cy="161651"/>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noFill/>
            <a:ln w="9525" cmpd="sng">
              <a:solidFill>
                <a:schemeClr val="tx2"/>
              </a:solidFill>
              <a:prstDash val="solid"/>
              <a:round/>
              <a:headEnd/>
              <a:tailEnd/>
            </a:ln>
          </p:spPr>
          <p:txBody>
            <a:bodyPr/>
            <a:lstStyle/>
            <a:p>
              <a:endParaRPr lang="en-US"/>
            </a:p>
          </p:txBody>
        </p:sp>
        <p:sp>
          <p:nvSpPr>
            <p:cNvPr id="261" name="Freeform 351"/>
            <p:cNvSpPr>
              <a:spLocks/>
            </p:cNvSpPr>
            <p:nvPr>
              <p:custDataLst>
                <p:tags r:id="rId172"/>
              </p:custDataLst>
            </p:nvPr>
          </p:nvSpPr>
          <p:spPr bwMode="auto">
            <a:xfrm>
              <a:off x="6592166" y="2106412"/>
              <a:ext cx="298108" cy="165848"/>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noFill/>
            <a:ln w="9525" cmpd="sng">
              <a:solidFill>
                <a:schemeClr val="tx2"/>
              </a:solidFill>
              <a:prstDash val="solid"/>
              <a:round/>
              <a:headEnd/>
              <a:tailEnd/>
            </a:ln>
          </p:spPr>
          <p:txBody>
            <a:bodyPr/>
            <a:lstStyle/>
            <a:p>
              <a:endParaRPr lang="en-US"/>
            </a:p>
          </p:txBody>
        </p:sp>
        <p:sp>
          <p:nvSpPr>
            <p:cNvPr id="262" name="Freeform 352"/>
            <p:cNvSpPr>
              <a:spLocks/>
            </p:cNvSpPr>
            <p:nvPr>
              <p:custDataLst>
                <p:tags r:id="rId173"/>
              </p:custDataLst>
            </p:nvPr>
          </p:nvSpPr>
          <p:spPr bwMode="auto">
            <a:xfrm>
              <a:off x="6071528" y="2127405"/>
              <a:ext cx="453460" cy="300206"/>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noFill/>
            <a:ln w="9525" cmpd="sng">
              <a:solidFill>
                <a:schemeClr val="tx2"/>
              </a:solidFill>
              <a:prstDash val="solid"/>
              <a:round/>
              <a:headEnd/>
              <a:tailEnd/>
            </a:ln>
          </p:spPr>
          <p:txBody>
            <a:bodyPr/>
            <a:lstStyle/>
            <a:p>
              <a:endParaRPr lang="en-US"/>
            </a:p>
          </p:txBody>
        </p:sp>
        <p:sp>
          <p:nvSpPr>
            <p:cNvPr id="263" name="Freeform 353"/>
            <p:cNvSpPr>
              <a:spLocks/>
            </p:cNvSpPr>
            <p:nvPr>
              <p:custDataLst>
                <p:tags r:id="rId174"/>
              </p:custDataLst>
            </p:nvPr>
          </p:nvSpPr>
          <p:spPr bwMode="auto">
            <a:xfrm>
              <a:off x="5026052" y="1978351"/>
              <a:ext cx="142756" cy="197339"/>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64" name="Freeform 354"/>
            <p:cNvSpPr>
              <a:spLocks/>
            </p:cNvSpPr>
            <p:nvPr>
              <p:custDataLst>
                <p:tags r:id="rId175"/>
              </p:custDataLst>
            </p:nvPr>
          </p:nvSpPr>
          <p:spPr bwMode="auto">
            <a:xfrm>
              <a:off x="5089032" y="2121107"/>
              <a:ext cx="90273" cy="7977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65" name="Freeform 355"/>
            <p:cNvSpPr>
              <a:spLocks/>
            </p:cNvSpPr>
            <p:nvPr>
              <p:custDataLst>
                <p:tags r:id="rId176"/>
              </p:custDataLst>
            </p:nvPr>
          </p:nvSpPr>
          <p:spPr bwMode="auto">
            <a:xfrm>
              <a:off x="5200298" y="2946151"/>
              <a:ext cx="543731" cy="808249"/>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noFill/>
            <a:ln w="9525" cmpd="sng">
              <a:solidFill>
                <a:schemeClr val="tx2"/>
              </a:solidFill>
              <a:prstDash val="solid"/>
              <a:round/>
              <a:headEnd/>
              <a:tailEnd/>
            </a:ln>
          </p:spPr>
          <p:txBody>
            <a:bodyPr/>
            <a:lstStyle/>
            <a:p>
              <a:endParaRPr lang="en-US"/>
            </a:p>
          </p:txBody>
        </p:sp>
        <p:sp>
          <p:nvSpPr>
            <p:cNvPr id="266" name="Freeform 356"/>
            <p:cNvSpPr>
              <a:spLocks/>
            </p:cNvSpPr>
            <p:nvPr>
              <p:custDataLst>
                <p:tags r:id="rId177"/>
              </p:custDataLst>
            </p:nvPr>
          </p:nvSpPr>
          <p:spPr bwMode="auto">
            <a:xfrm>
              <a:off x="5840599" y="3395412"/>
              <a:ext cx="323300" cy="571023"/>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noFill/>
            <a:ln w="9525" cmpd="sng">
              <a:solidFill>
                <a:schemeClr val="tx2"/>
              </a:solidFill>
              <a:prstDash val="solid"/>
              <a:round/>
              <a:headEnd/>
              <a:tailEnd/>
            </a:ln>
          </p:spPr>
          <p:txBody>
            <a:bodyPr/>
            <a:lstStyle/>
            <a:p>
              <a:endParaRPr lang="en-US"/>
            </a:p>
          </p:txBody>
        </p:sp>
        <p:sp>
          <p:nvSpPr>
            <p:cNvPr id="267" name="Freeform 357"/>
            <p:cNvSpPr>
              <a:spLocks/>
            </p:cNvSpPr>
            <p:nvPr>
              <p:custDataLst>
                <p:tags r:id="rId178"/>
              </p:custDataLst>
            </p:nvPr>
          </p:nvSpPr>
          <p:spPr bwMode="auto">
            <a:xfrm>
              <a:off x="5851097" y="3378617"/>
              <a:ext cx="50384" cy="77675"/>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noFill/>
            <a:ln w="9525" cmpd="sng">
              <a:solidFill>
                <a:schemeClr val="tx2"/>
              </a:solidFill>
              <a:prstDash val="solid"/>
              <a:round/>
              <a:headEnd/>
              <a:tailEnd/>
            </a:ln>
          </p:spPr>
          <p:txBody>
            <a:bodyPr/>
            <a:lstStyle/>
            <a:p>
              <a:endParaRPr lang="en-US"/>
            </a:p>
          </p:txBody>
        </p:sp>
        <p:sp>
          <p:nvSpPr>
            <p:cNvPr id="268" name="Freeform 358"/>
            <p:cNvSpPr>
              <a:spLocks/>
            </p:cNvSpPr>
            <p:nvPr>
              <p:custDataLst>
                <p:tags r:id="rId179"/>
              </p:custDataLst>
            </p:nvPr>
          </p:nvSpPr>
          <p:spPr bwMode="auto">
            <a:xfrm>
              <a:off x="5584479" y="3261054"/>
              <a:ext cx="480752" cy="497545"/>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noFill/>
            <a:ln w="9525" cmpd="sng">
              <a:solidFill>
                <a:schemeClr val="tx2"/>
              </a:solidFill>
              <a:prstDash val="solid"/>
              <a:round/>
              <a:headEnd/>
              <a:tailEnd/>
            </a:ln>
          </p:spPr>
          <p:txBody>
            <a:bodyPr/>
            <a:lstStyle/>
            <a:p>
              <a:endParaRPr lang="en-US"/>
            </a:p>
          </p:txBody>
        </p:sp>
        <p:sp>
          <p:nvSpPr>
            <p:cNvPr id="273" name="Freeform 363"/>
            <p:cNvSpPr>
              <a:spLocks/>
            </p:cNvSpPr>
            <p:nvPr/>
          </p:nvSpPr>
          <p:spPr bwMode="auto">
            <a:xfrm>
              <a:off x="1783478" y="3855293"/>
              <a:ext cx="200613" cy="266624"/>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288" name="Freeform 380"/>
            <p:cNvSpPr>
              <a:spLocks/>
            </p:cNvSpPr>
            <p:nvPr>
              <p:custDataLst>
                <p:tags r:id="rId180"/>
              </p:custDataLst>
            </p:nvPr>
          </p:nvSpPr>
          <p:spPr bwMode="auto">
            <a:xfrm>
              <a:off x="4856005" y="4157475"/>
              <a:ext cx="421969" cy="501745"/>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noFill/>
            <a:ln w="9525" cmpd="sng">
              <a:solidFill>
                <a:schemeClr val="tx2"/>
              </a:solidFill>
              <a:prstDash val="solid"/>
              <a:round/>
              <a:headEnd/>
              <a:tailEnd/>
            </a:ln>
          </p:spPr>
          <p:txBody>
            <a:bodyPr/>
            <a:lstStyle/>
            <a:p>
              <a:endParaRPr lang="en-US"/>
            </a:p>
          </p:txBody>
        </p:sp>
        <p:sp>
          <p:nvSpPr>
            <p:cNvPr id="289" name="Freeform 381"/>
            <p:cNvSpPr>
              <a:spLocks/>
            </p:cNvSpPr>
            <p:nvPr>
              <p:custDataLst>
                <p:tags r:id="rId181"/>
              </p:custDataLst>
            </p:nvPr>
          </p:nvSpPr>
          <p:spPr bwMode="auto">
            <a:xfrm>
              <a:off x="4870700" y="4121787"/>
              <a:ext cx="20993" cy="7977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noFill/>
            <a:ln w="9525" cmpd="sng">
              <a:solidFill>
                <a:schemeClr val="tx2"/>
              </a:solidFill>
              <a:prstDash val="solid"/>
              <a:round/>
              <a:headEnd/>
              <a:tailEnd/>
            </a:ln>
          </p:spPr>
          <p:txBody>
            <a:bodyPr/>
            <a:lstStyle/>
            <a:p>
              <a:endParaRPr lang="en-US"/>
            </a:p>
          </p:txBody>
        </p:sp>
        <p:sp>
          <p:nvSpPr>
            <p:cNvPr id="290" name="Freeform 382"/>
            <p:cNvSpPr>
              <a:spLocks/>
            </p:cNvSpPr>
            <p:nvPr>
              <p:custDataLst>
                <p:tags r:id="rId182"/>
              </p:custDataLst>
            </p:nvPr>
          </p:nvSpPr>
          <p:spPr bwMode="auto">
            <a:xfrm>
              <a:off x="5005058" y="4839764"/>
              <a:ext cx="524837" cy="526936"/>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291" name="Freeform 383"/>
            <p:cNvSpPr>
              <a:spLocks/>
            </p:cNvSpPr>
            <p:nvPr>
              <p:custDataLst>
                <p:tags r:id="rId183"/>
              </p:custDataLst>
            </p:nvPr>
          </p:nvSpPr>
          <p:spPr bwMode="auto">
            <a:xfrm>
              <a:off x="5200298" y="2946151"/>
              <a:ext cx="543731" cy="808249"/>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noFill/>
            <a:ln w="9525" cmpd="sng">
              <a:solidFill>
                <a:schemeClr val="tx2"/>
              </a:solidFill>
              <a:prstDash val="solid"/>
              <a:round/>
              <a:headEnd/>
              <a:tailEnd/>
            </a:ln>
          </p:spPr>
          <p:txBody>
            <a:bodyPr/>
            <a:lstStyle/>
            <a:p>
              <a:endParaRPr lang="en-US"/>
            </a:p>
          </p:txBody>
        </p:sp>
        <p:grpSp>
          <p:nvGrpSpPr>
            <p:cNvPr id="292" name="Group 391"/>
            <p:cNvGrpSpPr>
              <a:grpSpLocks/>
            </p:cNvGrpSpPr>
            <p:nvPr>
              <p:custDataLst>
                <p:tags r:id="rId184"/>
              </p:custDataLst>
            </p:nvPr>
          </p:nvGrpSpPr>
          <p:grpSpPr bwMode="auto">
            <a:xfrm>
              <a:off x="755834" y="816496"/>
              <a:ext cx="2193798" cy="1329803"/>
              <a:chOff x="534" y="1190"/>
              <a:chExt cx="1233" cy="629"/>
            </a:xfrm>
            <a:noFill/>
          </p:grpSpPr>
          <p:sp>
            <p:nvSpPr>
              <p:cNvPr id="298"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299"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300"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301"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303"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314"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315"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317"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007298"/>
              </a:solidFill>
              <a:ln w="9525" cap="flat" cmpd="sng">
                <a:solidFill>
                  <a:schemeClr val="tx2"/>
                </a:solidFill>
                <a:prstDash val="solid"/>
                <a:round/>
                <a:headEnd type="none" w="med" len="med"/>
                <a:tailEnd type="none" w="med" len="med"/>
              </a:ln>
              <a:effectLst/>
            </p:spPr>
            <p:txBody>
              <a:bodyPr/>
              <a:lstStyle/>
              <a:p>
                <a:endParaRPr lang="en-US"/>
              </a:p>
            </p:txBody>
          </p:sp>
          <p:sp>
            <p:nvSpPr>
              <p:cNvPr id="321"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007298"/>
              </a:solidFill>
              <a:ln w="9525" cap="flat" cmpd="sng">
                <a:solidFill>
                  <a:schemeClr val="tx2"/>
                </a:solidFill>
                <a:prstDash val="solid"/>
                <a:round/>
                <a:headEnd type="none" w="med" len="med"/>
                <a:tailEnd type="none" w="med" len="med"/>
              </a:ln>
              <a:effectLst/>
            </p:spPr>
            <p:txBody>
              <a:bodyPr/>
              <a:lstStyle/>
              <a:p>
                <a:endParaRPr lang="en-US"/>
              </a:p>
            </p:txBody>
          </p:sp>
          <p:sp>
            <p:nvSpPr>
              <p:cNvPr id="324"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007298"/>
              </a:solidFill>
              <a:ln w="9525" cap="flat" cmpd="sng">
                <a:solidFill>
                  <a:schemeClr val="tx2"/>
                </a:solidFill>
                <a:prstDash val="solid"/>
                <a:round/>
                <a:headEnd type="none" w="med" len="med"/>
                <a:tailEnd type="none" w="med" len="med"/>
              </a:ln>
              <a:effectLst/>
            </p:spPr>
            <p:txBody>
              <a:bodyPr/>
              <a:lstStyle/>
              <a:p>
                <a:endParaRPr lang="en-US"/>
              </a:p>
            </p:txBody>
          </p:sp>
          <p:sp>
            <p:nvSpPr>
              <p:cNvPr id="326"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007298"/>
              </a:solidFill>
              <a:ln w="9525" cap="flat" cmpd="sng">
                <a:solidFill>
                  <a:schemeClr val="tx2"/>
                </a:solidFill>
                <a:prstDash val="solid"/>
                <a:round/>
                <a:headEnd type="none" w="med" len="med"/>
                <a:tailEnd type="none" w="med" len="med"/>
              </a:ln>
              <a:effectLst/>
            </p:spPr>
            <p:txBody>
              <a:bodyPr/>
              <a:lstStyle/>
              <a:p>
                <a:endParaRPr lang="en-US"/>
              </a:p>
            </p:txBody>
          </p:sp>
          <p:sp>
            <p:nvSpPr>
              <p:cNvPr id="327"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007298"/>
              </a:solidFill>
              <a:ln w="9525" cap="flat" cmpd="sng">
                <a:solidFill>
                  <a:schemeClr val="tx2"/>
                </a:solidFill>
                <a:prstDash val="solid"/>
                <a:round/>
                <a:headEnd type="none" w="med" len="med"/>
                <a:tailEnd type="none" w="med" len="med"/>
              </a:ln>
              <a:effectLst/>
            </p:spPr>
            <p:txBody>
              <a:bodyPr/>
              <a:lstStyle/>
              <a:p>
                <a:endParaRPr lang="en-US"/>
              </a:p>
            </p:txBody>
          </p:sp>
          <p:sp>
            <p:nvSpPr>
              <p:cNvPr id="328"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329"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007298"/>
              </a:solidFill>
              <a:ln w="9525" cap="flat" cmpd="sng">
                <a:solidFill>
                  <a:schemeClr val="tx2"/>
                </a:solidFill>
                <a:prstDash val="solid"/>
                <a:round/>
                <a:headEnd type="none" w="med" len="med"/>
                <a:tailEnd type="none" w="med" len="med"/>
              </a:ln>
              <a:effectLst/>
            </p:spPr>
            <p:txBody>
              <a:bodyPr/>
              <a:lstStyle/>
              <a:p>
                <a:endParaRPr lang="en-US"/>
              </a:p>
            </p:txBody>
          </p:sp>
          <p:sp>
            <p:nvSpPr>
              <p:cNvPr id="330"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007298"/>
              </a:solidFill>
              <a:ln w="9525" cap="flat" cmpd="sng">
                <a:solidFill>
                  <a:schemeClr val="tx2"/>
                </a:solidFill>
                <a:prstDash val="solid"/>
                <a:round/>
                <a:headEnd type="none" w="med" len="med"/>
                <a:tailEnd type="none" w="med" len="med"/>
              </a:ln>
              <a:effectLst/>
            </p:spPr>
            <p:txBody>
              <a:bodyPr/>
              <a:lstStyle/>
              <a:p>
                <a:endParaRPr lang="en-US"/>
              </a:p>
            </p:txBody>
          </p:sp>
          <p:sp>
            <p:nvSpPr>
              <p:cNvPr id="331"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007298"/>
              </a:solidFill>
              <a:ln w="9525" cap="flat" cmpd="sng">
                <a:solidFill>
                  <a:schemeClr val="tx2"/>
                </a:solidFill>
                <a:prstDash val="solid"/>
                <a:round/>
                <a:headEnd type="none" w="med" len="med"/>
                <a:tailEnd type="none" w="med" len="med"/>
              </a:ln>
              <a:effectLst/>
            </p:spPr>
            <p:txBody>
              <a:bodyPr/>
              <a:lstStyle/>
              <a:p>
                <a:endParaRPr lang="en-US"/>
              </a:p>
            </p:txBody>
          </p:sp>
          <p:sp>
            <p:nvSpPr>
              <p:cNvPr id="334"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007298"/>
              </a:solidFill>
              <a:ln w="9525" cmpd="sng">
                <a:solidFill>
                  <a:schemeClr val="tx2"/>
                </a:solidFill>
                <a:prstDash val="solid"/>
                <a:round/>
                <a:headEnd/>
                <a:tailEnd/>
              </a:ln>
            </p:spPr>
            <p:txBody>
              <a:bodyPr/>
              <a:lstStyle/>
              <a:p>
                <a:endParaRPr lang="en-US"/>
              </a:p>
            </p:txBody>
          </p:sp>
        </p:grpSp>
        <p:sp>
          <p:nvSpPr>
            <p:cNvPr id="335" name="Freeform 434"/>
            <p:cNvSpPr>
              <a:spLocks/>
            </p:cNvSpPr>
            <p:nvPr>
              <p:custDataLst>
                <p:tags r:id="rId185"/>
              </p:custDataLst>
            </p:nvPr>
          </p:nvSpPr>
          <p:spPr bwMode="auto">
            <a:xfrm>
              <a:off x="5464816" y="3748103"/>
              <a:ext cx="167948" cy="209935"/>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noFill/>
            <a:ln w="9525" cmpd="sng">
              <a:solidFill>
                <a:schemeClr val="tx2"/>
              </a:solidFill>
              <a:prstDash val="solid"/>
              <a:round/>
              <a:headEnd/>
              <a:tailEnd/>
            </a:ln>
          </p:spPr>
          <p:txBody>
            <a:bodyPr/>
            <a:lstStyle/>
            <a:p>
              <a:endParaRPr lang="en-US"/>
            </a:p>
          </p:txBody>
        </p:sp>
        <p:sp>
          <p:nvSpPr>
            <p:cNvPr id="336" name="Freeform 435"/>
            <p:cNvSpPr>
              <a:spLocks/>
            </p:cNvSpPr>
            <p:nvPr>
              <p:custDataLst>
                <p:tags r:id="rId186"/>
              </p:custDataLst>
            </p:nvPr>
          </p:nvSpPr>
          <p:spPr bwMode="auto">
            <a:xfrm>
              <a:off x="5605472" y="3947540"/>
              <a:ext cx="8397" cy="75577"/>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noFill/>
            <a:ln w="9525" cmpd="sng">
              <a:solidFill>
                <a:schemeClr val="tx2"/>
              </a:solidFill>
              <a:prstDash val="solid"/>
              <a:round/>
              <a:headEnd/>
              <a:tailEnd/>
            </a:ln>
          </p:spPr>
          <p:txBody>
            <a:bodyPr/>
            <a:lstStyle/>
            <a:p>
              <a:endParaRPr lang="en-US"/>
            </a:p>
          </p:txBody>
        </p:sp>
        <p:sp>
          <p:nvSpPr>
            <p:cNvPr id="337" name="Freeform 436"/>
            <p:cNvSpPr>
              <a:spLocks/>
            </p:cNvSpPr>
            <p:nvPr>
              <p:custDataLst>
                <p:tags r:id="rId187"/>
              </p:custDataLst>
            </p:nvPr>
          </p:nvSpPr>
          <p:spPr bwMode="auto">
            <a:xfrm>
              <a:off x="4931582" y="2937754"/>
              <a:ext cx="329597" cy="661294"/>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noFill/>
            <a:ln w="9525" cmpd="sng">
              <a:solidFill>
                <a:schemeClr val="tx2"/>
              </a:solidFill>
              <a:prstDash val="solid"/>
              <a:round/>
              <a:headEnd/>
              <a:tailEnd/>
            </a:ln>
          </p:spPr>
          <p:txBody>
            <a:bodyPr/>
            <a:lstStyle/>
            <a:p>
              <a:endParaRPr lang="en-US"/>
            </a:p>
          </p:txBody>
        </p:sp>
        <p:grpSp>
          <p:nvGrpSpPr>
            <p:cNvPr id="338" name="Group 438"/>
            <p:cNvGrpSpPr>
              <a:grpSpLocks/>
            </p:cNvGrpSpPr>
            <p:nvPr>
              <p:custDataLst>
                <p:tags r:id="rId188"/>
              </p:custDataLst>
            </p:nvPr>
          </p:nvGrpSpPr>
          <p:grpSpPr bwMode="auto">
            <a:xfrm>
              <a:off x="2254910" y="4846061"/>
              <a:ext cx="508043" cy="1258651"/>
              <a:chOff x="1589" y="3126"/>
              <a:chExt cx="290" cy="606"/>
            </a:xfrm>
            <a:noFill/>
          </p:grpSpPr>
          <p:sp>
            <p:nvSpPr>
              <p:cNvPr id="339"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341"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grpSp>
        <p:sp>
          <p:nvSpPr>
            <p:cNvPr id="342" name="Freeform 442"/>
            <p:cNvSpPr>
              <a:spLocks/>
            </p:cNvSpPr>
            <p:nvPr>
              <p:custDataLst>
                <p:tags r:id="rId189"/>
              </p:custDataLst>
            </p:nvPr>
          </p:nvSpPr>
          <p:spPr bwMode="auto">
            <a:xfrm>
              <a:off x="5838501" y="2137902"/>
              <a:ext cx="163749" cy="144856"/>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noFill/>
            <a:ln w="9525" cmpd="sng">
              <a:solidFill>
                <a:schemeClr val="tx2"/>
              </a:solidFill>
              <a:prstDash val="solid"/>
              <a:round/>
              <a:headEnd/>
              <a:tailEnd/>
            </a:ln>
          </p:spPr>
          <p:txBody>
            <a:bodyPr/>
            <a:lstStyle/>
            <a:p>
              <a:endParaRPr lang="en-US"/>
            </a:p>
          </p:txBody>
        </p:sp>
        <p:sp>
          <p:nvSpPr>
            <p:cNvPr id="343" name="Freeform 443"/>
            <p:cNvSpPr>
              <a:spLocks/>
            </p:cNvSpPr>
            <p:nvPr>
              <p:custDataLst>
                <p:tags r:id="rId190"/>
              </p:custDataLst>
            </p:nvPr>
          </p:nvSpPr>
          <p:spPr bwMode="auto">
            <a:xfrm>
              <a:off x="5133119" y="1573177"/>
              <a:ext cx="277114" cy="199437"/>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noFill/>
            <a:ln w="9525" cmpd="sng">
              <a:solidFill>
                <a:schemeClr val="tx2"/>
              </a:solidFill>
              <a:prstDash val="solid"/>
              <a:round/>
              <a:headEnd/>
              <a:tailEnd/>
            </a:ln>
          </p:spPr>
          <p:txBody>
            <a:bodyPr/>
            <a:lstStyle/>
            <a:p>
              <a:endParaRPr lang="en-US"/>
            </a:p>
          </p:txBody>
        </p:sp>
        <p:sp>
          <p:nvSpPr>
            <p:cNvPr id="344" name="Freeform 444"/>
            <p:cNvSpPr>
              <a:spLocks/>
            </p:cNvSpPr>
            <p:nvPr>
              <p:custDataLst>
                <p:tags r:id="rId191"/>
              </p:custDataLst>
            </p:nvPr>
          </p:nvSpPr>
          <p:spPr bwMode="auto">
            <a:xfrm>
              <a:off x="4944178" y="2011941"/>
              <a:ext cx="109166" cy="115465"/>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45" name="Freeform 445"/>
            <p:cNvSpPr>
              <a:spLocks/>
            </p:cNvSpPr>
            <p:nvPr>
              <p:custDataLst>
                <p:tags r:id="rId192"/>
              </p:custDataLst>
            </p:nvPr>
          </p:nvSpPr>
          <p:spPr bwMode="auto">
            <a:xfrm>
              <a:off x="2781848" y="3911852"/>
              <a:ext cx="109166" cy="75577"/>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46" name="Freeform 446"/>
            <p:cNvSpPr>
              <a:spLocks/>
            </p:cNvSpPr>
            <p:nvPr>
              <p:custDataLst>
                <p:tags r:id="rId193"/>
              </p:custDataLst>
            </p:nvPr>
          </p:nvSpPr>
          <p:spPr bwMode="auto">
            <a:xfrm>
              <a:off x="5154113" y="2058126"/>
              <a:ext cx="176345" cy="128061"/>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47" name="Freeform 447"/>
            <p:cNvSpPr>
              <a:spLocks/>
            </p:cNvSpPr>
            <p:nvPr>
              <p:custDataLst>
                <p:tags r:id="rId194"/>
              </p:custDataLst>
            </p:nvPr>
          </p:nvSpPr>
          <p:spPr bwMode="auto">
            <a:xfrm>
              <a:off x="4301777" y="3284146"/>
              <a:ext cx="235127" cy="218332"/>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noFill/>
            <a:ln w="9525" cmpd="sng">
              <a:solidFill>
                <a:schemeClr val="tx2"/>
              </a:solidFill>
              <a:prstDash val="solid"/>
              <a:round/>
              <a:headEnd/>
              <a:tailEnd/>
            </a:ln>
          </p:spPr>
          <p:txBody>
            <a:bodyPr/>
            <a:lstStyle/>
            <a:p>
              <a:endParaRPr lang="en-US"/>
            </a:p>
          </p:txBody>
        </p:sp>
        <p:sp>
          <p:nvSpPr>
            <p:cNvPr id="348" name="Freeform 448"/>
            <p:cNvSpPr>
              <a:spLocks/>
            </p:cNvSpPr>
            <p:nvPr>
              <p:custDataLst>
                <p:tags r:id="rId195"/>
              </p:custDataLst>
            </p:nvPr>
          </p:nvSpPr>
          <p:spPr bwMode="auto">
            <a:xfrm>
              <a:off x="4761534" y="3374419"/>
              <a:ext cx="256121" cy="461857"/>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noFill/>
            <a:ln w="9525" cmpd="sng">
              <a:solidFill>
                <a:schemeClr val="tx2"/>
              </a:solidFill>
              <a:prstDash val="solid"/>
              <a:round/>
              <a:headEnd/>
              <a:tailEnd/>
            </a:ln>
          </p:spPr>
          <p:txBody>
            <a:bodyPr/>
            <a:lstStyle/>
            <a:p>
              <a:endParaRPr lang="en-US"/>
            </a:p>
          </p:txBody>
        </p:sp>
        <p:sp>
          <p:nvSpPr>
            <p:cNvPr id="349" name="Freeform 449"/>
            <p:cNvSpPr>
              <a:spLocks/>
            </p:cNvSpPr>
            <p:nvPr>
              <p:custDataLst>
                <p:tags r:id="rId196"/>
              </p:custDataLst>
            </p:nvPr>
          </p:nvSpPr>
          <p:spPr bwMode="auto">
            <a:xfrm>
              <a:off x="8002929" y="3055318"/>
              <a:ext cx="73478" cy="75577"/>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noFill/>
            <a:ln w="9525" cmpd="sng">
              <a:solidFill>
                <a:schemeClr val="tx2"/>
              </a:solidFill>
              <a:prstDash val="solid"/>
              <a:round/>
              <a:headEnd/>
              <a:tailEnd/>
            </a:ln>
          </p:spPr>
          <p:txBody>
            <a:bodyPr/>
            <a:lstStyle/>
            <a:p>
              <a:endParaRPr lang="en-US"/>
            </a:p>
          </p:txBody>
        </p:sp>
        <p:sp>
          <p:nvSpPr>
            <p:cNvPr id="350" name="Freeform 450"/>
            <p:cNvSpPr>
              <a:spLocks/>
            </p:cNvSpPr>
            <p:nvPr>
              <p:custDataLst>
                <p:tags r:id="rId197"/>
              </p:custDataLst>
            </p:nvPr>
          </p:nvSpPr>
          <p:spPr bwMode="auto">
            <a:xfrm>
              <a:off x="1860233" y="3403809"/>
              <a:ext cx="394678" cy="69278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007298"/>
            </a:solidFill>
            <a:ln w="9525" cmpd="sng">
              <a:solidFill>
                <a:schemeClr val="tx2"/>
              </a:solidFill>
              <a:prstDash val="solid"/>
              <a:round/>
              <a:headEnd/>
              <a:tailEnd/>
            </a:ln>
          </p:spPr>
          <p:txBody>
            <a:bodyPr/>
            <a:lstStyle/>
            <a:p>
              <a:r>
                <a:rPr lang="en-US" dirty="0"/>
                <a:t> </a:t>
              </a:r>
            </a:p>
          </p:txBody>
        </p:sp>
        <p:sp>
          <p:nvSpPr>
            <p:cNvPr id="351" name="Freeform 451"/>
            <p:cNvSpPr>
              <a:spLocks/>
            </p:cNvSpPr>
            <p:nvPr>
              <p:custDataLst>
                <p:tags r:id="rId198"/>
              </p:custDataLst>
            </p:nvPr>
          </p:nvSpPr>
          <p:spPr bwMode="auto">
            <a:xfrm>
              <a:off x="4839210" y="3758599"/>
              <a:ext cx="247723" cy="36318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noFill/>
            <a:ln w="9525" cmpd="sng">
              <a:solidFill>
                <a:schemeClr val="tx2"/>
              </a:solidFill>
              <a:prstDash val="solid"/>
              <a:round/>
              <a:headEnd/>
              <a:tailEnd/>
            </a:ln>
          </p:spPr>
          <p:txBody>
            <a:bodyPr/>
            <a:lstStyle/>
            <a:p>
              <a:endParaRPr lang="en-US"/>
            </a:p>
          </p:txBody>
        </p:sp>
        <p:sp>
          <p:nvSpPr>
            <p:cNvPr id="352" name="Freeform 452"/>
            <p:cNvSpPr>
              <a:spLocks/>
            </p:cNvSpPr>
            <p:nvPr>
              <p:custDataLst>
                <p:tags r:id="rId199"/>
              </p:custDataLst>
            </p:nvPr>
          </p:nvSpPr>
          <p:spPr bwMode="auto">
            <a:xfrm>
              <a:off x="4881197" y="1963656"/>
              <a:ext cx="167948" cy="151153"/>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53" name="Freeform 453"/>
            <p:cNvSpPr>
              <a:spLocks/>
            </p:cNvSpPr>
            <p:nvPr>
              <p:custDataLst>
                <p:tags r:id="rId200"/>
              </p:custDataLst>
            </p:nvPr>
          </p:nvSpPr>
          <p:spPr bwMode="auto">
            <a:xfrm>
              <a:off x="4816117" y="1776814"/>
              <a:ext cx="222531" cy="102869"/>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54" name="Freeform 454"/>
            <p:cNvSpPr>
              <a:spLocks/>
            </p:cNvSpPr>
            <p:nvPr>
              <p:custDataLst>
                <p:tags r:id="rId201"/>
              </p:custDataLst>
            </p:nvPr>
          </p:nvSpPr>
          <p:spPr bwMode="auto">
            <a:xfrm>
              <a:off x="4767832" y="1585774"/>
              <a:ext cx="39887" cy="7977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55" name="Freeform 455"/>
            <p:cNvSpPr>
              <a:spLocks/>
            </p:cNvSpPr>
            <p:nvPr>
              <p:custDataLst>
                <p:tags r:id="rId202"/>
              </p:custDataLst>
            </p:nvPr>
          </p:nvSpPr>
          <p:spPr bwMode="auto">
            <a:xfrm>
              <a:off x="4730044" y="1592071"/>
              <a:ext cx="33590" cy="77677"/>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noFill/>
            <a:ln w="9525" cmpd="sng">
              <a:solidFill>
                <a:schemeClr val="tx2"/>
              </a:solidFill>
              <a:prstDash val="solid"/>
              <a:round/>
              <a:headEnd/>
              <a:tailEnd/>
            </a:ln>
          </p:spPr>
          <p:txBody>
            <a:bodyPr/>
            <a:lstStyle/>
            <a:p>
              <a:endParaRPr lang="en-US"/>
            </a:p>
          </p:txBody>
        </p:sp>
        <p:sp>
          <p:nvSpPr>
            <p:cNvPr id="356" name="Freeform 456"/>
            <p:cNvSpPr>
              <a:spLocks/>
            </p:cNvSpPr>
            <p:nvPr>
              <p:custDataLst>
                <p:tags r:id="rId203"/>
              </p:custDataLst>
            </p:nvPr>
          </p:nvSpPr>
          <p:spPr bwMode="auto">
            <a:xfrm>
              <a:off x="4690156" y="1520693"/>
              <a:ext cx="69279" cy="102869"/>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57" name="Freeform 457"/>
            <p:cNvSpPr>
              <a:spLocks/>
            </p:cNvSpPr>
            <p:nvPr>
              <p:custDataLst>
                <p:tags r:id="rId204"/>
              </p:custDataLst>
            </p:nvPr>
          </p:nvSpPr>
          <p:spPr bwMode="auto">
            <a:xfrm>
              <a:off x="5261179" y="2585063"/>
              <a:ext cx="361088" cy="407274"/>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58" name="Freeform 458"/>
            <p:cNvSpPr>
              <a:spLocks/>
            </p:cNvSpPr>
            <p:nvPr>
              <p:custDataLst>
                <p:tags r:id="rId205"/>
              </p:custDataLst>
            </p:nvPr>
          </p:nvSpPr>
          <p:spPr bwMode="auto">
            <a:xfrm>
              <a:off x="4725845" y="2102213"/>
              <a:ext cx="23092" cy="75577"/>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59" name="Freeform 459"/>
            <p:cNvSpPr>
              <a:spLocks/>
            </p:cNvSpPr>
            <p:nvPr>
              <p:custDataLst>
                <p:tags r:id="rId206"/>
              </p:custDataLst>
            </p:nvPr>
          </p:nvSpPr>
          <p:spPr bwMode="auto">
            <a:xfrm>
              <a:off x="4330236" y="1772615"/>
              <a:ext cx="390479" cy="361088"/>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360" name="Freeform 460"/>
            <p:cNvSpPr>
              <a:spLocks/>
            </p:cNvSpPr>
            <p:nvPr>
              <p:custDataLst>
                <p:tags r:id="rId207"/>
              </p:custDataLst>
            </p:nvPr>
          </p:nvSpPr>
          <p:spPr bwMode="auto">
            <a:xfrm>
              <a:off x="5678950" y="2083318"/>
              <a:ext cx="199438" cy="109166"/>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noFill/>
            <a:ln w="9525" cmpd="sng">
              <a:solidFill>
                <a:schemeClr val="tx2"/>
              </a:solidFill>
              <a:prstDash val="solid"/>
              <a:round/>
              <a:headEnd/>
              <a:tailEnd/>
            </a:ln>
          </p:spPr>
          <p:txBody>
            <a:bodyPr/>
            <a:lstStyle/>
            <a:p>
              <a:endParaRPr lang="en-US"/>
            </a:p>
          </p:txBody>
        </p:sp>
        <p:sp>
          <p:nvSpPr>
            <p:cNvPr id="361" name="Freeform 461"/>
            <p:cNvSpPr>
              <a:spLocks/>
            </p:cNvSpPr>
            <p:nvPr>
              <p:custDataLst>
                <p:tags r:id="rId208"/>
              </p:custDataLst>
            </p:nvPr>
          </p:nvSpPr>
          <p:spPr bwMode="auto">
            <a:xfrm>
              <a:off x="5082735" y="2163094"/>
              <a:ext cx="195239" cy="228830"/>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noFill/>
            <a:ln w="9525" cmpd="sng">
              <a:solidFill>
                <a:schemeClr val="tx2"/>
              </a:solidFill>
              <a:prstDash val="solid"/>
              <a:round/>
              <a:headEnd/>
              <a:tailEnd/>
            </a:ln>
          </p:spPr>
          <p:txBody>
            <a:bodyPr/>
            <a:lstStyle/>
            <a:p>
              <a:endParaRPr lang="en-US"/>
            </a:p>
          </p:txBody>
        </p:sp>
        <p:sp>
          <p:nvSpPr>
            <p:cNvPr id="362" name="Freeform 462"/>
            <p:cNvSpPr>
              <a:spLocks/>
            </p:cNvSpPr>
            <p:nvPr>
              <p:custDataLst>
                <p:tags r:id="rId209"/>
              </p:custDataLst>
            </p:nvPr>
          </p:nvSpPr>
          <p:spPr bwMode="auto">
            <a:xfrm>
              <a:off x="5194000" y="2417116"/>
              <a:ext cx="92371" cy="75577"/>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63" name="Freeform 463"/>
            <p:cNvSpPr>
              <a:spLocks/>
            </p:cNvSpPr>
            <p:nvPr>
              <p:custDataLst>
                <p:tags r:id="rId210"/>
              </p:custDataLst>
            </p:nvPr>
          </p:nvSpPr>
          <p:spPr bwMode="auto">
            <a:xfrm>
              <a:off x="3976377" y="3384915"/>
              <a:ext cx="247723" cy="209935"/>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noFill/>
            <a:ln w="9525" cmpd="sng">
              <a:solidFill>
                <a:schemeClr val="tx2"/>
              </a:solidFill>
              <a:prstDash val="solid"/>
              <a:round/>
              <a:headEnd/>
              <a:tailEnd/>
            </a:ln>
          </p:spPr>
          <p:txBody>
            <a:bodyPr/>
            <a:lstStyle/>
            <a:p>
              <a:endParaRPr lang="en-US"/>
            </a:p>
          </p:txBody>
        </p:sp>
        <p:sp>
          <p:nvSpPr>
            <p:cNvPr id="364" name="Freeform 464"/>
            <p:cNvSpPr>
              <a:spLocks/>
            </p:cNvSpPr>
            <p:nvPr>
              <p:custDataLst>
                <p:tags r:id="rId211"/>
              </p:custDataLst>
            </p:nvPr>
          </p:nvSpPr>
          <p:spPr bwMode="auto">
            <a:xfrm>
              <a:off x="6680339" y="2410817"/>
              <a:ext cx="915316" cy="1156742"/>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365" name="Freeform 465"/>
            <p:cNvSpPr>
              <a:spLocks/>
            </p:cNvSpPr>
            <p:nvPr>
              <p:custDataLst>
                <p:tags r:id="rId212"/>
              </p:custDataLst>
            </p:nvPr>
          </p:nvSpPr>
          <p:spPr bwMode="auto">
            <a:xfrm>
              <a:off x="4196809" y="3462591"/>
              <a:ext cx="209935" cy="27291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noFill/>
            <a:ln w="9525" cmpd="sng">
              <a:solidFill>
                <a:schemeClr val="tx2"/>
              </a:solidFill>
              <a:prstDash val="solid"/>
              <a:round/>
              <a:headEnd/>
              <a:tailEnd/>
            </a:ln>
          </p:spPr>
          <p:txBody>
            <a:bodyPr/>
            <a:lstStyle/>
            <a:p>
              <a:endParaRPr lang="en-US"/>
            </a:p>
          </p:txBody>
        </p:sp>
        <p:sp>
          <p:nvSpPr>
            <p:cNvPr id="366" name="Freeform 466"/>
            <p:cNvSpPr>
              <a:spLocks/>
            </p:cNvSpPr>
            <p:nvPr>
              <p:custDataLst>
                <p:tags r:id="rId213"/>
              </p:custDataLst>
            </p:nvPr>
          </p:nvSpPr>
          <p:spPr bwMode="auto">
            <a:xfrm>
              <a:off x="5609671" y="3720810"/>
              <a:ext cx="254022" cy="358989"/>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noFill/>
            <a:ln w="9525" cmpd="sng">
              <a:solidFill>
                <a:schemeClr val="tx2"/>
              </a:solidFill>
              <a:prstDash val="solid"/>
              <a:round/>
              <a:headEnd/>
              <a:tailEnd/>
            </a:ln>
          </p:spPr>
          <p:txBody>
            <a:bodyPr/>
            <a:lstStyle/>
            <a:p>
              <a:endParaRPr lang="en-US"/>
            </a:p>
          </p:txBody>
        </p:sp>
        <p:sp>
          <p:nvSpPr>
            <p:cNvPr id="367" name="Freeform 467"/>
            <p:cNvSpPr>
              <a:spLocks/>
            </p:cNvSpPr>
            <p:nvPr>
              <p:custDataLst>
                <p:tags r:id="rId214"/>
              </p:custDataLst>
            </p:nvPr>
          </p:nvSpPr>
          <p:spPr bwMode="auto">
            <a:xfrm>
              <a:off x="5586579" y="2511586"/>
              <a:ext cx="134358" cy="172147"/>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noFill/>
            <a:ln w="9525" cmpd="sng">
              <a:solidFill>
                <a:schemeClr val="tx2"/>
              </a:solidFill>
              <a:prstDash val="solid"/>
              <a:round/>
              <a:headEnd/>
              <a:tailEnd/>
            </a:ln>
          </p:spPr>
          <p:txBody>
            <a:bodyPr/>
            <a:lstStyle/>
            <a:p>
              <a:endParaRPr lang="en-US"/>
            </a:p>
          </p:txBody>
        </p:sp>
        <p:sp>
          <p:nvSpPr>
            <p:cNvPr id="368" name="Freeform 468"/>
            <p:cNvSpPr>
              <a:spLocks/>
            </p:cNvSpPr>
            <p:nvPr>
              <p:custDataLst>
                <p:tags r:id="rId215"/>
              </p:custDataLst>
            </p:nvPr>
          </p:nvSpPr>
          <p:spPr bwMode="auto">
            <a:xfrm>
              <a:off x="5981256" y="2648044"/>
              <a:ext cx="29391" cy="73477"/>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noFill/>
            <a:ln w="9525" cmpd="sng">
              <a:solidFill>
                <a:schemeClr val="tx2"/>
              </a:solidFill>
              <a:prstDash val="solid"/>
              <a:round/>
              <a:headEnd/>
              <a:tailEnd/>
            </a:ln>
          </p:spPr>
          <p:txBody>
            <a:bodyPr/>
            <a:lstStyle/>
            <a:p>
              <a:endParaRPr lang="en-US"/>
            </a:p>
          </p:txBody>
        </p:sp>
        <p:sp>
          <p:nvSpPr>
            <p:cNvPr id="369" name="Freeform 469"/>
            <p:cNvSpPr>
              <a:spLocks/>
            </p:cNvSpPr>
            <p:nvPr>
              <p:custDataLst>
                <p:tags r:id="rId216"/>
              </p:custDataLst>
            </p:nvPr>
          </p:nvSpPr>
          <p:spPr bwMode="auto">
            <a:xfrm>
              <a:off x="5038648" y="1503898"/>
              <a:ext cx="214134" cy="88173"/>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007298"/>
            </a:solidFill>
            <a:ln w="9525" cmpd="sng">
              <a:solidFill>
                <a:schemeClr val="tx2"/>
              </a:solidFill>
              <a:prstDash val="solid"/>
              <a:round/>
              <a:headEnd/>
              <a:tailEnd/>
            </a:ln>
          </p:spPr>
          <p:txBody>
            <a:bodyPr/>
            <a:lstStyle/>
            <a:p>
              <a:endParaRPr lang="en-US"/>
            </a:p>
          </p:txBody>
        </p:sp>
        <p:sp>
          <p:nvSpPr>
            <p:cNvPr id="370" name="Freeform 470"/>
            <p:cNvSpPr>
              <a:spLocks/>
            </p:cNvSpPr>
            <p:nvPr>
              <p:custDataLst>
                <p:tags r:id="rId217"/>
              </p:custDataLst>
            </p:nvPr>
          </p:nvSpPr>
          <p:spPr bwMode="auto">
            <a:xfrm>
              <a:off x="5582380" y="2457003"/>
              <a:ext cx="39887" cy="75577"/>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noFill/>
            <a:ln w="9525" cmpd="sng">
              <a:solidFill>
                <a:schemeClr val="tx2"/>
              </a:solidFill>
              <a:prstDash val="solid"/>
              <a:round/>
              <a:headEnd/>
              <a:tailEnd/>
            </a:ln>
          </p:spPr>
          <p:txBody>
            <a:bodyPr/>
            <a:lstStyle/>
            <a:p>
              <a:endParaRPr lang="en-US"/>
            </a:p>
          </p:txBody>
        </p:sp>
        <p:sp>
          <p:nvSpPr>
            <p:cNvPr id="371" name="Freeform 471"/>
            <p:cNvSpPr>
              <a:spLocks/>
            </p:cNvSpPr>
            <p:nvPr>
              <p:custDataLst>
                <p:tags r:id="rId218"/>
              </p:custDataLst>
            </p:nvPr>
          </p:nvSpPr>
          <p:spPr bwMode="auto">
            <a:xfrm>
              <a:off x="5338855" y="5116878"/>
              <a:ext cx="81874" cy="75577"/>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solidFill>
            <a:ln w="9525" cmpd="sng">
              <a:solidFill>
                <a:schemeClr val="tx2"/>
              </a:solidFill>
              <a:prstDash val="solid"/>
              <a:round/>
              <a:headEnd/>
              <a:tailEnd/>
            </a:ln>
          </p:spPr>
          <p:txBody>
            <a:bodyPr/>
            <a:lstStyle/>
            <a:p>
              <a:endParaRPr lang="en-US"/>
            </a:p>
          </p:txBody>
        </p:sp>
        <p:sp>
          <p:nvSpPr>
            <p:cNvPr id="372" name="Freeform 472"/>
            <p:cNvSpPr>
              <a:spLocks/>
            </p:cNvSpPr>
            <p:nvPr>
              <p:custDataLst>
                <p:tags r:id="rId219"/>
              </p:custDataLst>
            </p:nvPr>
          </p:nvSpPr>
          <p:spPr bwMode="auto">
            <a:xfrm>
              <a:off x="5036549" y="1566879"/>
              <a:ext cx="174245" cy="111266"/>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007298"/>
            </a:solidFill>
            <a:ln w="9525" cap="flat" cmpd="sng">
              <a:solidFill>
                <a:schemeClr val="tx2"/>
              </a:solidFill>
              <a:prstDash val="solid"/>
              <a:round/>
              <a:headEnd type="none" w="med" len="med"/>
              <a:tailEnd type="none" w="med" len="med"/>
            </a:ln>
            <a:effectLst/>
          </p:spPr>
          <p:txBody>
            <a:bodyPr/>
            <a:lstStyle/>
            <a:p>
              <a:endParaRPr lang="en-US"/>
            </a:p>
          </p:txBody>
        </p:sp>
        <p:sp>
          <p:nvSpPr>
            <p:cNvPr id="373" name="Freeform 473"/>
            <p:cNvSpPr>
              <a:spLocks/>
            </p:cNvSpPr>
            <p:nvPr>
              <p:custDataLst>
                <p:tags r:id="rId220"/>
              </p:custDataLst>
            </p:nvPr>
          </p:nvSpPr>
          <p:spPr bwMode="auto">
            <a:xfrm>
              <a:off x="4648169" y="1812503"/>
              <a:ext cx="25192" cy="7977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74" name="Freeform 474"/>
            <p:cNvSpPr>
              <a:spLocks/>
            </p:cNvSpPr>
            <p:nvPr>
              <p:custDataLst>
                <p:tags r:id="rId221"/>
              </p:custDataLst>
            </p:nvPr>
          </p:nvSpPr>
          <p:spPr bwMode="auto">
            <a:xfrm>
              <a:off x="5569784" y="4304429"/>
              <a:ext cx="92371" cy="319101"/>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noFill/>
            <a:ln w="9525" cmpd="sng">
              <a:solidFill>
                <a:schemeClr val="tx2"/>
              </a:solidFill>
              <a:prstDash val="solid"/>
              <a:round/>
              <a:headEnd/>
              <a:tailEnd/>
            </a:ln>
          </p:spPr>
          <p:txBody>
            <a:bodyPr/>
            <a:lstStyle/>
            <a:p>
              <a:endParaRPr lang="en-US"/>
            </a:p>
          </p:txBody>
        </p:sp>
        <p:sp>
          <p:nvSpPr>
            <p:cNvPr id="375" name="Freeform 475"/>
            <p:cNvSpPr>
              <a:spLocks/>
            </p:cNvSpPr>
            <p:nvPr>
              <p:custDataLst>
                <p:tags r:id="rId222"/>
              </p:custDataLst>
            </p:nvPr>
          </p:nvSpPr>
          <p:spPr bwMode="auto">
            <a:xfrm>
              <a:off x="4897992" y="2415016"/>
              <a:ext cx="18893" cy="75577"/>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noFill/>
            <a:ln w="9525" cmpd="sng">
              <a:solidFill>
                <a:schemeClr val="tx2"/>
              </a:solidFill>
              <a:prstDash val="solid"/>
              <a:round/>
              <a:headEnd/>
              <a:tailEnd/>
            </a:ln>
          </p:spPr>
          <p:txBody>
            <a:bodyPr/>
            <a:lstStyle/>
            <a:p>
              <a:endParaRPr lang="en-US"/>
            </a:p>
          </p:txBody>
        </p:sp>
        <p:sp>
          <p:nvSpPr>
            <p:cNvPr id="376" name="Freeform 476"/>
            <p:cNvSpPr>
              <a:spLocks/>
            </p:cNvSpPr>
            <p:nvPr>
              <p:custDataLst>
                <p:tags r:id="rId223"/>
              </p:custDataLst>
            </p:nvPr>
          </p:nvSpPr>
          <p:spPr bwMode="auto">
            <a:xfrm>
              <a:off x="5319961" y="4558451"/>
              <a:ext cx="249823" cy="287610"/>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noFill/>
            <a:ln w="9525" cmpd="sng">
              <a:solidFill>
                <a:schemeClr val="tx2"/>
              </a:solidFill>
              <a:prstDash val="solid"/>
              <a:round/>
              <a:headEnd/>
              <a:tailEnd/>
            </a:ln>
          </p:spPr>
          <p:txBody>
            <a:bodyPr/>
            <a:lstStyle/>
            <a:p>
              <a:endParaRPr lang="en-US"/>
            </a:p>
          </p:txBody>
        </p:sp>
        <p:sp>
          <p:nvSpPr>
            <p:cNvPr id="377" name="Freeform 477"/>
            <p:cNvSpPr>
              <a:spLocks/>
            </p:cNvSpPr>
            <p:nvPr>
              <p:custDataLst>
                <p:tags r:id="rId224"/>
              </p:custDataLst>
            </p:nvPr>
          </p:nvSpPr>
          <p:spPr bwMode="auto">
            <a:xfrm>
              <a:off x="5204497" y="4262442"/>
              <a:ext cx="388379" cy="39677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noFill/>
            <a:ln w="9525" cmpd="sng">
              <a:solidFill>
                <a:schemeClr val="tx2"/>
              </a:solidFill>
              <a:prstDash val="solid"/>
              <a:round/>
              <a:headEnd/>
              <a:tailEnd/>
            </a:ln>
          </p:spPr>
          <p:txBody>
            <a:bodyPr/>
            <a:lstStyle/>
            <a:p>
              <a:endParaRPr lang="en-US"/>
            </a:p>
          </p:txBody>
        </p:sp>
        <p:sp>
          <p:nvSpPr>
            <p:cNvPr id="378" name="Freeform 478"/>
            <p:cNvSpPr>
              <a:spLocks/>
            </p:cNvSpPr>
            <p:nvPr>
              <p:custDataLst>
                <p:tags r:id="rId225"/>
              </p:custDataLst>
            </p:nvPr>
          </p:nvSpPr>
          <p:spPr bwMode="auto">
            <a:xfrm>
              <a:off x="4856005" y="4623530"/>
              <a:ext cx="463956" cy="503844"/>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noFill/>
            <a:ln w="9525" cmpd="sng">
              <a:solidFill>
                <a:schemeClr val="tx2"/>
              </a:solidFill>
              <a:prstDash val="solid"/>
              <a:round/>
              <a:headEnd/>
              <a:tailEnd/>
            </a:ln>
          </p:spPr>
          <p:txBody>
            <a:bodyPr/>
            <a:lstStyle/>
            <a:p>
              <a:endParaRPr lang="en-US"/>
            </a:p>
          </p:txBody>
        </p:sp>
        <p:sp>
          <p:nvSpPr>
            <p:cNvPr id="379" name="Freeform 479"/>
            <p:cNvSpPr>
              <a:spLocks/>
            </p:cNvSpPr>
            <p:nvPr>
              <p:custDataLst>
                <p:tags r:id="rId226"/>
              </p:custDataLst>
            </p:nvPr>
          </p:nvSpPr>
          <p:spPr bwMode="auto">
            <a:xfrm>
              <a:off x="3902900" y="3208569"/>
              <a:ext cx="214134" cy="186843"/>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noFill/>
            <a:ln w="9525" cmpd="sng">
              <a:solidFill>
                <a:schemeClr val="tx2"/>
              </a:solidFill>
              <a:prstDash val="solid"/>
              <a:round/>
              <a:headEnd/>
              <a:tailEnd/>
            </a:ln>
          </p:spPr>
          <p:txBody>
            <a:bodyPr/>
            <a:lstStyle/>
            <a:p>
              <a:endParaRPr lang="en-US"/>
            </a:p>
          </p:txBody>
        </p:sp>
        <p:sp>
          <p:nvSpPr>
            <p:cNvPr id="380" name="Freeform 480"/>
            <p:cNvSpPr>
              <a:spLocks/>
            </p:cNvSpPr>
            <p:nvPr>
              <p:custDataLst>
                <p:tags r:id="rId227"/>
              </p:custDataLst>
            </p:nvPr>
          </p:nvSpPr>
          <p:spPr bwMode="auto">
            <a:xfrm>
              <a:off x="5454319" y="3951739"/>
              <a:ext cx="356889" cy="442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noFill/>
            <a:ln w="9525" cmpd="sng">
              <a:solidFill>
                <a:schemeClr val="tx2"/>
              </a:solidFill>
              <a:prstDash val="solid"/>
              <a:round/>
              <a:headEnd/>
              <a:tailEnd/>
            </a:ln>
          </p:spPr>
          <p:txBody>
            <a:bodyPr/>
            <a:lstStyle/>
            <a:p>
              <a:endParaRPr lang="en-US"/>
            </a:p>
          </p:txBody>
        </p:sp>
        <p:sp>
          <p:nvSpPr>
            <p:cNvPr id="381" name="Freeform 482"/>
            <p:cNvSpPr>
              <a:spLocks/>
            </p:cNvSpPr>
            <p:nvPr>
              <p:custDataLst>
                <p:tags r:id="rId228"/>
              </p:custDataLst>
            </p:nvPr>
          </p:nvSpPr>
          <p:spPr bwMode="auto">
            <a:xfrm>
              <a:off x="8657926" y="1988848"/>
              <a:ext cx="186843" cy="165848"/>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82" name="Freeform 483"/>
            <p:cNvSpPr>
              <a:spLocks/>
            </p:cNvSpPr>
            <p:nvPr>
              <p:custDataLst>
                <p:tags r:id="rId229"/>
              </p:custDataLst>
            </p:nvPr>
          </p:nvSpPr>
          <p:spPr bwMode="auto">
            <a:xfrm>
              <a:off x="8618039" y="2457003"/>
              <a:ext cx="69278" cy="75577"/>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83" name="Freeform 484"/>
            <p:cNvSpPr>
              <a:spLocks/>
            </p:cNvSpPr>
            <p:nvPr>
              <p:custDataLst>
                <p:tags r:id="rId230"/>
              </p:custDataLst>
            </p:nvPr>
          </p:nvSpPr>
          <p:spPr bwMode="auto">
            <a:xfrm>
              <a:off x="8546662" y="2475897"/>
              <a:ext cx="79775" cy="111265"/>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84" name="Freeform 485"/>
            <p:cNvSpPr>
              <a:spLocks/>
            </p:cNvSpPr>
            <p:nvPr>
              <p:custDataLst>
                <p:tags r:id="rId231"/>
              </p:custDataLst>
            </p:nvPr>
          </p:nvSpPr>
          <p:spPr bwMode="auto">
            <a:xfrm>
              <a:off x="8567655" y="2160995"/>
              <a:ext cx="277114" cy="323300"/>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85" name="Freeform 508"/>
            <p:cNvSpPr>
              <a:spLocks/>
            </p:cNvSpPr>
            <p:nvPr>
              <p:custDataLst>
                <p:tags r:id="rId232"/>
              </p:custDataLst>
            </p:nvPr>
          </p:nvSpPr>
          <p:spPr bwMode="auto">
            <a:xfrm>
              <a:off x="8269547" y="1600468"/>
              <a:ext cx="16795" cy="77677"/>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86" name="Freeform 519"/>
            <p:cNvSpPr>
              <a:spLocks/>
            </p:cNvSpPr>
            <p:nvPr>
              <p:custDataLst>
                <p:tags r:id="rId233"/>
              </p:custDataLst>
            </p:nvPr>
          </p:nvSpPr>
          <p:spPr bwMode="auto">
            <a:xfrm>
              <a:off x="5017654" y="1604667"/>
              <a:ext cx="62980" cy="77677"/>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87" name="Freeform 522"/>
            <p:cNvSpPr>
              <a:spLocks/>
            </p:cNvSpPr>
            <p:nvPr>
              <p:custDataLst>
                <p:tags r:id="rId234"/>
              </p:custDataLst>
            </p:nvPr>
          </p:nvSpPr>
          <p:spPr bwMode="auto">
            <a:xfrm>
              <a:off x="5382941" y="1228884"/>
              <a:ext cx="41987" cy="73477"/>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88" name="Freeform 523"/>
            <p:cNvSpPr>
              <a:spLocks/>
            </p:cNvSpPr>
            <p:nvPr>
              <p:custDataLst>
                <p:tags r:id="rId235"/>
              </p:custDataLst>
            </p:nvPr>
          </p:nvSpPr>
          <p:spPr bwMode="auto">
            <a:xfrm>
              <a:off x="8431197" y="1621462"/>
              <a:ext cx="260319" cy="354791"/>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noFill/>
            <a:ln w="9525" cap="flat" cmpd="sng">
              <a:solidFill>
                <a:schemeClr val="tx2"/>
              </a:solidFill>
              <a:prstDash val="solid"/>
              <a:round/>
              <a:headEnd type="none" w="med" len="med"/>
              <a:tailEnd type="none" w="med" len="med"/>
            </a:ln>
            <a:effectLst/>
          </p:spPr>
          <p:txBody>
            <a:bodyPr/>
            <a:lstStyle/>
            <a:p>
              <a:endParaRPr lang="en-US"/>
            </a:p>
          </p:txBody>
        </p:sp>
        <p:grpSp>
          <p:nvGrpSpPr>
            <p:cNvPr id="389" name="Group 524"/>
            <p:cNvGrpSpPr>
              <a:grpSpLocks/>
            </p:cNvGrpSpPr>
            <p:nvPr>
              <p:custDataLst>
                <p:tags r:id="rId236"/>
              </p:custDataLst>
            </p:nvPr>
          </p:nvGrpSpPr>
          <p:grpSpPr bwMode="auto">
            <a:xfrm>
              <a:off x="6831492" y="1562680"/>
              <a:ext cx="888026" cy="508042"/>
              <a:chOff x="4115" y="1551"/>
              <a:chExt cx="504" cy="244"/>
            </a:xfrm>
            <a:noFill/>
          </p:grpSpPr>
          <p:sp>
            <p:nvSpPr>
              <p:cNvPr id="390"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chemeClr val="tx2"/>
                </a:solidFill>
                <a:prstDash val="solid"/>
                <a:round/>
                <a:headEnd/>
                <a:tailEnd/>
              </a:ln>
            </p:spPr>
            <p:txBody>
              <a:bodyPr/>
              <a:lstStyle/>
              <a:p>
                <a:endParaRPr lang="en-US"/>
              </a:p>
            </p:txBody>
          </p:sp>
          <p:sp>
            <p:nvSpPr>
              <p:cNvPr id="391"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chemeClr val="tx2"/>
                </a:solidFill>
                <a:prstDash val="solid"/>
                <a:round/>
                <a:headEnd/>
                <a:tailEnd/>
              </a:ln>
            </p:spPr>
            <p:txBody>
              <a:bodyPr/>
              <a:lstStyle/>
              <a:p>
                <a:endParaRPr lang="en-US"/>
              </a:p>
            </p:txBody>
          </p:sp>
        </p:grpSp>
        <p:sp>
          <p:nvSpPr>
            <p:cNvPr id="392" name="Freeform 527"/>
            <p:cNvSpPr>
              <a:spLocks/>
            </p:cNvSpPr>
            <p:nvPr>
              <p:custDataLst>
                <p:tags r:id="rId237"/>
              </p:custDataLst>
            </p:nvPr>
          </p:nvSpPr>
          <p:spPr bwMode="auto">
            <a:xfrm>
              <a:off x="5584479" y="2553573"/>
              <a:ext cx="701183" cy="675990"/>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sp>
          <p:nvSpPr>
            <p:cNvPr id="393" name="Freeform 528"/>
            <p:cNvSpPr>
              <a:spLocks/>
            </p:cNvSpPr>
            <p:nvPr>
              <p:custDataLst>
                <p:tags r:id="rId238"/>
              </p:custDataLst>
            </p:nvPr>
          </p:nvSpPr>
          <p:spPr bwMode="auto">
            <a:xfrm>
              <a:off x="4889595" y="1951060"/>
              <a:ext cx="75577" cy="75577"/>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94" name="Freeform 529"/>
            <p:cNvSpPr>
              <a:spLocks/>
            </p:cNvSpPr>
            <p:nvPr>
              <p:custDataLst>
                <p:tags r:id="rId239"/>
              </p:custDataLst>
            </p:nvPr>
          </p:nvSpPr>
          <p:spPr bwMode="auto">
            <a:xfrm>
              <a:off x="4545301" y="2232373"/>
              <a:ext cx="20993" cy="75577"/>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395" name="Freeform 533"/>
            <p:cNvSpPr>
              <a:spLocks/>
            </p:cNvSpPr>
            <p:nvPr>
              <p:custDataLst>
                <p:tags r:id="rId240"/>
              </p:custDataLst>
            </p:nvPr>
          </p:nvSpPr>
          <p:spPr bwMode="auto">
            <a:xfrm>
              <a:off x="5576081" y="2343638"/>
              <a:ext cx="230928" cy="209935"/>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noFill/>
            <a:ln w="9525" cmpd="sng">
              <a:solidFill>
                <a:schemeClr val="tx2"/>
              </a:solidFill>
              <a:prstDash val="solid"/>
              <a:round/>
              <a:headEnd/>
              <a:tailEnd/>
            </a:ln>
          </p:spPr>
          <p:txBody>
            <a:bodyPr/>
            <a:lstStyle/>
            <a:p>
              <a:endParaRPr lang="en-US"/>
            </a:p>
          </p:txBody>
        </p:sp>
        <p:sp>
          <p:nvSpPr>
            <p:cNvPr id="396" name="Freeform 534"/>
            <p:cNvSpPr>
              <a:spLocks/>
            </p:cNvSpPr>
            <p:nvPr>
              <p:custDataLst>
                <p:tags r:id="rId241"/>
              </p:custDataLst>
            </p:nvPr>
          </p:nvSpPr>
          <p:spPr bwMode="auto">
            <a:xfrm>
              <a:off x="8345124" y="2847481"/>
              <a:ext cx="56682" cy="104967"/>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noFill/>
            <a:ln w="9525" cmpd="sng">
              <a:solidFill>
                <a:schemeClr val="tx2"/>
              </a:solidFill>
              <a:prstDash val="solid"/>
              <a:round/>
              <a:headEnd/>
              <a:tailEnd/>
            </a:ln>
          </p:spPr>
          <p:txBody>
            <a:bodyPr/>
            <a:lstStyle/>
            <a:p>
              <a:endParaRPr lang="en-US"/>
            </a:p>
          </p:txBody>
        </p:sp>
        <p:grpSp>
          <p:nvGrpSpPr>
            <p:cNvPr id="397" name="Group 535"/>
            <p:cNvGrpSpPr>
              <a:grpSpLocks/>
            </p:cNvGrpSpPr>
            <p:nvPr>
              <p:custDataLst>
                <p:tags r:id="rId242"/>
              </p:custDataLst>
            </p:nvPr>
          </p:nvGrpSpPr>
          <p:grpSpPr bwMode="auto">
            <a:xfrm>
              <a:off x="5233888" y="2144200"/>
              <a:ext cx="638202" cy="266617"/>
              <a:chOff x="3289" y="1830"/>
              <a:chExt cx="363" cy="128"/>
            </a:xfrm>
            <a:noFill/>
          </p:grpSpPr>
          <p:sp>
            <p:nvSpPr>
              <p:cNvPr id="398"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399"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400"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401"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sp>
            <p:nvSpPr>
              <p:cNvPr id="402"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chemeClr val="tx2"/>
                </a:solidFill>
                <a:prstDash val="solid"/>
                <a:round/>
                <a:headEnd type="none" w="med" len="med"/>
                <a:tailEnd type="none" w="med" len="med"/>
              </a:ln>
              <a:effectLst/>
            </p:spPr>
            <p:txBody>
              <a:bodyPr/>
              <a:lstStyle/>
              <a:p>
                <a:endParaRPr lang="en-US"/>
              </a:p>
            </p:txBody>
          </p:sp>
        </p:grpSp>
        <p:sp>
          <p:nvSpPr>
            <p:cNvPr id="403" name="Freeform 541"/>
            <p:cNvSpPr>
              <a:spLocks/>
            </p:cNvSpPr>
            <p:nvPr>
              <p:custDataLst>
                <p:tags r:id="rId243"/>
              </p:custDataLst>
            </p:nvPr>
          </p:nvSpPr>
          <p:spPr bwMode="auto">
            <a:xfrm>
              <a:off x="2574011" y="3668327"/>
              <a:ext cx="132260" cy="161649"/>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404" name="Freeform 542"/>
            <p:cNvSpPr>
              <a:spLocks/>
            </p:cNvSpPr>
            <p:nvPr>
              <p:custDataLst>
                <p:tags r:id="rId244"/>
              </p:custDataLst>
            </p:nvPr>
          </p:nvSpPr>
          <p:spPr bwMode="auto">
            <a:xfrm>
              <a:off x="7790896" y="2923058"/>
              <a:ext cx="275014" cy="606712"/>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007298"/>
            </a:solidFill>
            <a:ln w="9525" cmpd="sng">
              <a:solidFill>
                <a:schemeClr val="tx2"/>
              </a:solidFill>
              <a:prstDash val="solid"/>
              <a:round/>
              <a:headEnd/>
              <a:tailEnd/>
            </a:ln>
          </p:spPr>
          <p:txBody>
            <a:bodyPr/>
            <a:lstStyle/>
            <a:p>
              <a:endParaRPr lang="en-US"/>
            </a:p>
          </p:txBody>
        </p:sp>
        <p:sp>
          <p:nvSpPr>
            <p:cNvPr id="405" name="Freeform 543"/>
            <p:cNvSpPr>
              <a:spLocks/>
            </p:cNvSpPr>
            <p:nvPr>
              <p:custDataLst>
                <p:tags r:id="rId245"/>
              </p:custDataLst>
            </p:nvPr>
          </p:nvSpPr>
          <p:spPr bwMode="auto">
            <a:xfrm>
              <a:off x="7906359" y="3829977"/>
              <a:ext cx="33590" cy="75577"/>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sp>
          <p:nvSpPr>
            <p:cNvPr id="406" name="Freeform 544"/>
            <p:cNvSpPr>
              <a:spLocks/>
            </p:cNvSpPr>
            <p:nvPr>
              <p:custDataLst>
                <p:tags r:id="rId246"/>
              </p:custDataLst>
            </p:nvPr>
          </p:nvSpPr>
          <p:spPr bwMode="auto">
            <a:xfrm>
              <a:off x="6176495" y="2849581"/>
              <a:ext cx="230928" cy="358988"/>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407" name="Freeform 545"/>
            <p:cNvSpPr>
              <a:spLocks/>
            </p:cNvSpPr>
            <p:nvPr>
              <p:custDataLst>
                <p:tags r:id="rId247"/>
              </p:custDataLst>
            </p:nvPr>
          </p:nvSpPr>
          <p:spPr bwMode="auto">
            <a:xfrm>
              <a:off x="4492817" y="2920959"/>
              <a:ext cx="497547" cy="510141"/>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noFill/>
            <a:ln w="9525" cmpd="sng">
              <a:solidFill>
                <a:schemeClr val="tx2"/>
              </a:solidFill>
              <a:prstDash val="solid"/>
              <a:round/>
              <a:headEnd/>
              <a:tailEnd/>
            </a:ln>
          </p:spPr>
          <p:txBody>
            <a:bodyPr/>
            <a:lstStyle/>
            <a:p>
              <a:endParaRPr lang="en-US"/>
            </a:p>
          </p:txBody>
        </p:sp>
        <p:sp>
          <p:nvSpPr>
            <p:cNvPr id="408" name="Freeform 546"/>
            <p:cNvSpPr>
              <a:spLocks/>
            </p:cNvSpPr>
            <p:nvPr>
              <p:custDataLst>
                <p:tags r:id="rId248"/>
              </p:custDataLst>
            </p:nvPr>
          </p:nvSpPr>
          <p:spPr bwMode="auto">
            <a:xfrm>
              <a:off x="4056152" y="2415016"/>
              <a:ext cx="396778" cy="344293"/>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007298"/>
            </a:solidFill>
            <a:ln w="9525" cmpd="sng">
              <a:solidFill>
                <a:schemeClr val="tx2"/>
              </a:solidFill>
              <a:prstDash val="solid"/>
              <a:round/>
              <a:headEnd/>
              <a:tailEnd/>
            </a:ln>
          </p:spPr>
          <p:txBody>
            <a:bodyPr/>
            <a:lstStyle/>
            <a:p>
              <a:endParaRPr lang="en-US"/>
            </a:p>
          </p:txBody>
        </p:sp>
        <p:sp>
          <p:nvSpPr>
            <p:cNvPr id="409" name="Freeform 547"/>
            <p:cNvSpPr>
              <a:spLocks/>
            </p:cNvSpPr>
            <p:nvPr>
              <p:custDataLst>
                <p:tags r:id="rId249"/>
              </p:custDataLst>
            </p:nvPr>
          </p:nvSpPr>
          <p:spPr bwMode="auto">
            <a:xfrm>
              <a:off x="4981966" y="1000055"/>
              <a:ext cx="312802" cy="121762"/>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noFill/>
            <a:ln w="9525" cap="flat" cmpd="sng">
              <a:solidFill>
                <a:schemeClr val="tx2"/>
              </a:solidFill>
              <a:prstDash val="solid"/>
              <a:round/>
              <a:headEnd type="none" w="med" len="med"/>
              <a:tailEnd type="none" w="med" len="med"/>
            </a:ln>
            <a:effectLst/>
          </p:spPr>
          <p:txBody>
            <a:bodyPr/>
            <a:lstStyle/>
            <a:p>
              <a:endParaRPr lang="en-US"/>
            </a:p>
          </p:txBody>
        </p:sp>
        <p:sp>
          <p:nvSpPr>
            <p:cNvPr id="412" name="Freeform 331"/>
            <p:cNvSpPr>
              <a:spLocks/>
            </p:cNvSpPr>
            <p:nvPr>
              <p:custDataLst>
                <p:tags r:id="rId250"/>
              </p:custDataLst>
            </p:nvPr>
          </p:nvSpPr>
          <p:spPr bwMode="auto">
            <a:xfrm>
              <a:off x="4250211" y="1588525"/>
              <a:ext cx="37788" cy="73478"/>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94D60A"/>
            </a:solidFill>
            <a:ln w="9525" cap="flat" cmpd="sng">
              <a:solidFill>
                <a:schemeClr val="tx2"/>
              </a:solidFill>
              <a:prstDash val="solid"/>
              <a:round/>
              <a:headEnd type="none" w="med" len="med"/>
              <a:tailEnd type="none" w="med" len="med"/>
            </a:ln>
            <a:effectLst/>
          </p:spPr>
          <p:txBody>
            <a:bodyPr/>
            <a:lstStyle/>
            <a:p>
              <a:endParaRPr lang="en-US"/>
            </a:p>
          </p:txBody>
        </p:sp>
        <p:pic>
          <p:nvPicPr>
            <p:cNvPr id="66" name="Picture 65"/>
            <p:cNvPicPr>
              <a:picLocks noChangeAspect="1"/>
            </p:cNvPicPr>
            <p:nvPr/>
          </p:nvPicPr>
          <p:blipFill>
            <a:blip r:embed="rId254">
              <a:clrChange>
                <a:clrFrom>
                  <a:srgbClr val="FFFFFF"/>
                </a:clrFrom>
                <a:clrTo>
                  <a:srgbClr val="FFFFFF">
                    <a:alpha val="0"/>
                  </a:srgbClr>
                </a:clrTo>
              </a:clrChange>
            </a:blip>
            <a:stretch>
              <a:fillRect/>
            </a:stretch>
          </p:blipFill>
          <p:spPr>
            <a:xfrm>
              <a:off x="387143" y="5105298"/>
              <a:ext cx="1700931" cy="353599"/>
            </a:xfrm>
            <a:prstGeom prst="rect">
              <a:avLst/>
            </a:prstGeom>
          </p:spPr>
        </p:pic>
        <p:sp>
          <p:nvSpPr>
            <p:cNvPr id="332" name="Freeform 53">
              <a:extLst>
                <a:ext uri="{FF2B5EF4-FFF2-40B4-BE49-F238E27FC236}">
                  <a16:creationId xmlns:a16="http://schemas.microsoft.com/office/drawing/2014/main" id="{DDC3D4A4-3D88-4F18-9D5E-6F96CA305AD8}"/>
                </a:ext>
              </a:extLst>
            </p:cNvPr>
            <p:cNvSpPr>
              <a:spLocks/>
            </p:cNvSpPr>
            <p:nvPr>
              <p:custDataLst>
                <p:tags r:id="rId251"/>
              </p:custDataLst>
            </p:nvPr>
          </p:nvSpPr>
          <p:spPr bwMode="auto">
            <a:xfrm rot="1605273">
              <a:off x="2717431" y="2469474"/>
              <a:ext cx="47004" cy="56681"/>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chemeClr val="bg2"/>
            </a:solidFill>
            <a:ln w="9525" cap="flat" cmpd="sng">
              <a:solidFill>
                <a:schemeClr val="tx2"/>
              </a:solidFill>
              <a:prstDash val="solid"/>
              <a:round/>
              <a:headEnd type="none" w="med" len="med"/>
              <a:tailEnd type="none" w="med" len="med"/>
            </a:ln>
            <a:effectLst/>
          </p:spPr>
          <p:txBody>
            <a:bodyPr/>
            <a:lstStyle/>
            <a:p>
              <a:endParaRPr lang="en-US"/>
            </a:p>
          </p:txBody>
        </p:sp>
      </p:grpSp>
      <p:sp>
        <p:nvSpPr>
          <p:cNvPr id="5" name="Rectangle 4">
            <a:extLst>
              <a:ext uri="{FF2B5EF4-FFF2-40B4-BE49-F238E27FC236}">
                <a16:creationId xmlns:a16="http://schemas.microsoft.com/office/drawing/2014/main" id="{97F28C1E-AD20-4C1B-A2B0-E6F32D58878B}"/>
              </a:ext>
            </a:extLst>
          </p:cNvPr>
          <p:cNvSpPr/>
          <p:nvPr/>
        </p:nvSpPr>
        <p:spPr>
          <a:xfrm>
            <a:off x="1264357" y="4709903"/>
            <a:ext cx="2011964" cy="6911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40377673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34274C73-4C2A-40C5-AB21-D08C0F8EBD5E}"/>
              </a:ext>
            </a:extLst>
          </p:cNvPr>
          <p:cNvSpPr>
            <a:spLocks noGrp="1"/>
          </p:cNvSpPr>
          <p:nvPr>
            <p:ph sz="half" idx="13"/>
          </p:nvPr>
        </p:nvSpPr>
        <p:spPr>
          <a:xfrm>
            <a:off x="7717690" y="1364945"/>
            <a:ext cx="4349223" cy="4332553"/>
          </a:xfrm>
        </p:spPr>
        <p:txBody>
          <a:bodyPr/>
          <a:lstStyle/>
          <a:p>
            <a:pPr marL="346075" lvl="1" indent="-153988">
              <a:buSzPct val="90000"/>
            </a:pPr>
            <a:r>
              <a:rPr lang="en-US" dirty="0">
                <a:solidFill>
                  <a:srgbClr val="4E5255"/>
                </a:solidFill>
                <a:latin typeface="Arial Nova" panose="020B0504020202020204" pitchFamily="34" charset="0"/>
              </a:rPr>
              <a:t> How many Americans are   </a:t>
            </a:r>
            <a:br>
              <a:rPr lang="en-US" dirty="0">
                <a:solidFill>
                  <a:srgbClr val="4E5255"/>
                </a:solidFill>
                <a:latin typeface="Arial Nova" panose="020B0504020202020204" pitchFamily="34" charset="0"/>
              </a:rPr>
            </a:br>
            <a:r>
              <a:rPr lang="en-US" dirty="0">
                <a:solidFill>
                  <a:srgbClr val="4E5255"/>
                </a:solidFill>
                <a:latin typeface="Arial Nova" panose="020B0504020202020204" pitchFamily="34" charset="0"/>
              </a:rPr>
              <a:t> currently subject to these taxes?</a:t>
            </a:r>
          </a:p>
        </p:txBody>
      </p:sp>
      <p:sp>
        <p:nvSpPr>
          <p:cNvPr id="3" name="Content Placeholder 2"/>
          <p:cNvSpPr>
            <a:spLocks noGrp="1"/>
          </p:cNvSpPr>
          <p:nvPr>
            <p:ph sz="quarter" idx="1"/>
          </p:nvPr>
        </p:nvSpPr>
        <p:spPr>
          <a:xfrm>
            <a:off x="1506074" y="834247"/>
            <a:ext cx="5549244" cy="5189507"/>
          </a:xfrm>
        </p:spPr>
        <p:txBody>
          <a:bodyPr>
            <a:normAutofit/>
          </a:bodyPr>
          <a:lstStyle/>
          <a:p>
            <a:pPr marL="231775" indent="-212725"/>
            <a:r>
              <a:rPr lang="en-US" sz="2000" dirty="0">
                <a:solidFill>
                  <a:srgbClr val="4E5255"/>
                </a:solidFill>
                <a:latin typeface="Arial Nova" panose="020B0504020202020204" pitchFamily="34" charset="0"/>
              </a:rPr>
              <a:t>U.S. locations with beverage taxes</a:t>
            </a:r>
          </a:p>
          <a:p>
            <a:pPr marL="461963" lvl="1" indent="-230188">
              <a:spcBef>
                <a:spcPts val="600"/>
              </a:spcBef>
              <a:buSzPct val="120000"/>
            </a:pPr>
            <a:r>
              <a:rPr lang="en-US" sz="1600" dirty="0">
                <a:solidFill>
                  <a:srgbClr val="4E5255"/>
                </a:solidFill>
                <a:latin typeface="Arial Nova" panose="020B0504020202020204" pitchFamily="34" charset="0"/>
              </a:rPr>
              <a:t>Berkeley, San Francisco, Albany, Oakland</a:t>
            </a:r>
          </a:p>
          <a:p>
            <a:pPr marL="461963" lvl="1" indent="-230188">
              <a:buSzPct val="120000"/>
            </a:pPr>
            <a:r>
              <a:rPr lang="en-US" sz="1600" dirty="0">
                <a:solidFill>
                  <a:srgbClr val="4E5255"/>
                </a:solidFill>
                <a:latin typeface="Arial Nova" panose="020B0504020202020204" pitchFamily="34" charset="0"/>
              </a:rPr>
              <a:t>Boulder</a:t>
            </a:r>
          </a:p>
          <a:p>
            <a:pPr marL="461963" lvl="1" indent="-230188">
              <a:buSzPct val="120000"/>
            </a:pPr>
            <a:r>
              <a:rPr lang="en-US" sz="1600" dirty="0">
                <a:solidFill>
                  <a:srgbClr val="4E5255"/>
                </a:solidFill>
                <a:latin typeface="Arial Nova" panose="020B0504020202020204" pitchFamily="34" charset="0"/>
              </a:rPr>
              <a:t>Philadelphia: Facing serious challenges</a:t>
            </a:r>
          </a:p>
          <a:p>
            <a:pPr marL="461963" lvl="1" indent="-230188">
              <a:buSzPct val="120000"/>
            </a:pPr>
            <a:r>
              <a:rPr lang="en-US" sz="1600" dirty="0">
                <a:solidFill>
                  <a:srgbClr val="4E5255"/>
                </a:solidFill>
                <a:latin typeface="Arial Nova" panose="020B0504020202020204" pitchFamily="34" charset="0"/>
              </a:rPr>
              <a:t>Cook County (Chicago) - Repealed by County Board</a:t>
            </a:r>
          </a:p>
          <a:p>
            <a:pPr marL="461963" lvl="1" indent="-230188">
              <a:buSzPct val="120000"/>
            </a:pPr>
            <a:r>
              <a:rPr lang="en-US" sz="1600" dirty="0">
                <a:solidFill>
                  <a:srgbClr val="4E5255"/>
                </a:solidFill>
                <a:latin typeface="Arial Nova" panose="020B0504020202020204" pitchFamily="34" charset="0"/>
              </a:rPr>
              <a:t>Seattle</a:t>
            </a:r>
          </a:p>
          <a:p>
            <a:pPr marL="461963" lvl="1" indent="-230188">
              <a:buSzPct val="120000"/>
            </a:pPr>
            <a:r>
              <a:rPr lang="en-US" sz="1600" dirty="0">
                <a:solidFill>
                  <a:srgbClr val="4E5255"/>
                </a:solidFill>
                <a:latin typeface="Arial Nova" panose="020B0504020202020204" pitchFamily="34" charset="0"/>
              </a:rPr>
              <a:t>Santa Fe? - Voters rejected this tax</a:t>
            </a:r>
          </a:p>
          <a:p>
            <a:pPr marL="461963" lvl="1" indent="-230188">
              <a:buSzPct val="120000"/>
            </a:pPr>
            <a:r>
              <a:rPr lang="en-US" sz="1600" dirty="0">
                <a:solidFill>
                  <a:srgbClr val="4E5255"/>
                </a:solidFill>
                <a:latin typeface="Arial Nova" panose="020B0504020202020204" pitchFamily="34" charset="0"/>
              </a:rPr>
              <a:t>Portland</a:t>
            </a:r>
          </a:p>
          <a:p>
            <a:pPr marL="461963" lvl="1" indent="-230188">
              <a:buSzPct val="120000"/>
            </a:pPr>
            <a:r>
              <a:rPr lang="en-US" sz="1600" dirty="0">
                <a:solidFill>
                  <a:srgbClr val="4E5255"/>
                </a:solidFill>
                <a:latin typeface="Arial Nova" panose="020B0504020202020204" pitchFamily="34" charset="0"/>
              </a:rPr>
              <a:t>State legislatures (Connecticut, California, Massachusetts, New York, Vermont…) are looking more seriously at beverage taxes, as well.</a:t>
            </a:r>
            <a:endParaRPr lang="en-US" sz="2000" dirty="0">
              <a:solidFill>
                <a:srgbClr val="4E5255"/>
              </a:solidFill>
              <a:latin typeface="Arial Nova" panose="020B0504020202020204" pitchFamily="34" charset="0"/>
            </a:endParaRPr>
          </a:p>
          <a:p>
            <a:pPr marL="231775" indent="-212725">
              <a:lnSpc>
                <a:spcPts val="2100"/>
              </a:lnSpc>
              <a:spcBef>
                <a:spcPts val="1200"/>
              </a:spcBef>
            </a:pPr>
            <a:r>
              <a:rPr lang="en-US" sz="1600" dirty="0">
                <a:solidFill>
                  <a:srgbClr val="4E5255"/>
                </a:solidFill>
                <a:latin typeface="Arial Nova" panose="020B0504020202020204" pitchFamily="34" charset="0"/>
              </a:rPr>
              <a:t>Research suggests that these taxes can shift demand to healthier choices. Most of the taxes as implemented are lower than experts would like, and there are often exceptions (juices, teas, dairy-based drinks, coffee drinks).</a:t>
            </a:r>
          </a:p>
          <a:p>
            <a:pPr marL="231775" indent="-212725">
              <a:lnSpc>
                <a:spcPts val="2100"/>
              </a:lnSpc>
            </a:pPr>
            <a:r>
              <a:rPr lang="en-US" sz="1600" dirty="0">
                <a:solidFill>
                  <a:srgbClr val="4E5255"/>
                </a:solidFill>
                <a:latin typeface="Arial Nova" panose="020B0504020202020204" pitchFamily="34" charset="0"/>
              </a:rPr>
              <a:t>Results so far are mixed, and even when consumption is lowered, there is little indication of lower obesity rates or improved health results.</a:t>
            </a:r>
          </a:p>
        </p:txBody>
      </p:sp>
      <p:sp>
        <p:nvSpPr>
          <p:cNvPr id="2" name="Title 1"/>
          <p:cNvSpPr>
            <a:spLocks noGrp="1"/>
          </p:cNvSpPr>
          <p:nvPr>
            <p:ph type="title"/>
          </p:nvPr>
        </p:nvSpPr>
        <p:spPr/>
        <p:txBody>
          <a:bodyPr>
            <a:normAutofit fontScale="90000"/>
          </a:bodyPr>
          <a:lstStyle/>
          <a:p>
            <a:r>
              <a:rPr lang="en-US" dirty="0">
                <a:solidFill>
                  <a:schemeClr val="tx1"/>
                </a:solidFill>
                <a:latin typeface="Roboto Light" panose="02000000000000000000" pitchFamily="2" charset="0"/>
                <a:ea typeface="Roboto Light" panose="02000000000000000000" pitchFamily="2" charset="0"/>
              </a:rPr>
              <a:t>Sweetener &amp; soda taxes in the U.S.: Highly dilute potential influence</a:t>
            </a:r>
          </a:p>
        </p:txBody>
      </p:sp>
      <p:sp>
        <p:nvSpPr>
          <p:cNvPr id="9" name="Content Placeholder 8"/>
          <p:cNvSpPr>
            <a:spLocks noGrp="1"/>
          </p:cNvSpPr>
          <p:nvPr>
            <p:ph sz="quarter" idx="11"/>
          </p:nvPr>
        </p:nvSpPr>
        <p:spPr/>
        <p:txBody>
          <a:bodyPr>
            <a:normAutofit/>
          </a:bodyPr>
          <a:lstStyle/>
          <a:p>
            <a:r>
              <a:rPr lang="en-US" dirty="0">
                <a:latin typeface="Arial Nova" panose="020B0504020202020204" pitchFamily="34" charset="0"/>
              </a:rPr>
              <a:t>Arkansas adopted a tax on all soft drinks in 1993.</a:t>
            </a:r>
          </a:p>
        </p:txBody>
      </p:sp>
      <p:graphicFrame>
        <p:nvGraphicFramePr>
          <p:cNvPr id="14" name="Object 13">
            <a:extLst>
              <a:ext uri="{FF2B5EF4-FFF2-40B4-BE49-F238E27FC236}">
                <a16:creationId xmlns:a16="http://schemas.microsoft.com/office/drawing/2014/main" id="{62A23741-8A5B-4776-9DEE-D63E9595ACCE}"/>
              </a:ext>
            </a:extLst>
          </p:cNvPr>
          <p:cNvGraphicFramePr>
            <a:graphicFrameLocks noChangeAspect="1"/>
          </p:cNvGraphicFramePr>
          <p:nvPr/>
        </p:nvGraphicFramePr>
        <p:xfrm>
          <a:off x="7717690" y="2479954"/>
          <a:ext cx="4002873" cy="2740273"/>
        </p:xfrm>
        <a:graphic>
          <a:graphicData uri="http://schemas.openxmlformats.org/presentationml/2006/ole">
            <mc:AlternateContent xmlns:mc="http://schemas.openxmlformats.org/markup-compatibility/2006">
              <mc:Choice xmlns:v="urn:schemas-microsoft-com:vml" Requires="v">
                <p:oleObj spid="_x0000_s10295" name="Worksheet" r:id="rId4" imgW="4564455" imgH="3124083" progId="Excel.Sheet.12">
                  <p:link updateAutomatic="1"/>
                </p:oleObj>
              </mc:Choice>
              <mc:Fallback>
                <p:oleObj name="Worksheet" r:id="rId4" imgW="4564455" imgH="3124083" progId="Excel.Sheet.12">
                  <p:link updateAutomatic="1"/>
                  <p:pic>
                    <p:nvPicPr>
                      <p:cNvPr id="14" name="Object 13">
                        <a:extLst>
                          <a:ext uri="{FF2B5EF4-FFF2-40B4-BE49-F238E27FC236}">
                            <a16:creationId xmlns:a16="http://schemas.microsoft.com/office/drawing/2014/main" id="{62A23741-8A5B-4776-9DEE-D63E9595ACCE}"/>
                          </a:ext>
                        </a:extLst>
                      </p:cNvPr>
                      <p:cNvPicPr/>
                      <p:nvPr/>
                    </p:nvPicPr>
                    <p:blipFill>
                      <a:blip r:embed="rId5"/>
                      <a:stretch>
                        <a:fillRect/>
                      </a:stretch>
                    </p:blipFill>
                    <p:spPr>
                      <a:xfrm>
                        <a:off x="7717690" y="2479954"/>
                        <a:ext cx="4002873" cy="2740273"/>
                      </a:xfrm>
                      <a:prstGeom prst="rect">
                        <a:avLst/>
                      </a:prstGeom>
                    </p:spPr>
                  </p:pic>
                </p:oleObj>
              </mc:Fallback>
            </mc:AlternateContent>
          </a:graphicData>
        </a:graphic>
      </p:graphicFrame>
    </p:spTree>
    <p:extLst>
      <p:ext uri="{BB962C8B-B14F-4D97-AF65-F5344CB8AC3E}">
        <p14:creationId xmlns:p14="http://schemas.microsoft.com/office/powerpoint/2010/main" val="37371297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C419B-4A0D-494C-BABF-2A90297D4DE2}"/>
              </a:ext>
            </a:extLst>
          </p:cNvPr>
          <p:cNvSpPr>
            <a:spLocks noGrp="1"/>
          </p:cNvSpPr>
          <p:nvPr>
            <p:ph type="title"/>
          </p:nvPr>
        </p:nvSpPr>
        <p:spPr>
          <a:xfrm>
            <a:off x="542693" y="130973"/>
            <a:ext cx="10972800" cy="563389"/>
          </a:xfrm>
        </p:spPr>
        <p:txBody>
          <a:bodyPr/>
          <a:lstStyle/>
          <a:p>
            <a:r>
              <a:rPr lang="en-US" dirty="0"/>
              <a:t>Sugar consumption</a:t>
            </a:r>
          </a:p>
        </p:txBody>
      </p:sp>
      <p:sp>
        <p:nvSpPr>
          <p:cNvPr id="3" name="Text Placeholder 2">
            <a:extLst>
              <a:ext uri="{FF2B5EF4-FFF2-40B4-BE49-F238E27FC236}">
                <a16:creationId xmlns:a16="http://schemas.microsoft.com/office/drawing/2014/main" id="{B3F0B5F5-DF1E-044F-9F89-5EAFFD899FE7}"/>
              </a:ext>
            </a:extLst>
          </p:cNvPr>
          <p:cNvSpPr>
            <a:spLocks noGrp="1"/>
          </p:cNvSpPr>
          <p:nvPr>
            <p:ph type="body" sz="quarter" idx="10"/>
          </p:nvPr>
        </p:nvSpPr>
        <p:spPr/>
        <p:txBody>
          <a:bodyPr>
            <a:normAutofit/>
          </a:bodyPr>
          <a:lstStyle/>
          <a:p>
            <a:r>
              <a:rPr lang="en-US" sz="800" i="1" dirty="0"/>
              <a:t>*Estimate. Source: USDA, </a:t>
            </a:r>
            <a:r>
              <a:rPr lang="en-US" sz="800" i="1" dirty="0" err="1"/>
              <a:t>McKeany</a:t>
            </a:r>
            <a:r>
              <a:rPr lang="en-US" sz="800" i="1" dirty="0"/>
              <a:t>-Flavell</a:t>
            </a:r>
          </a:p>
        </p:txBody>
      </p:sp>
      <p:graphicFrame>
        <p:nvGraphicFramePr>
          <p:cNvPr id="4" name="Object 3">
            <a:extLst>
              <a:ext uri="{FF2B5EF4-FFF2-40B4-BE49-F238E27FC236}">
                <a16:creationId xmlns:a16="http://schemas.microsoft.com/office/drawing/2014/main" id="{B2712016-0FBA-4129-B232-29886D0F5C0C}"/>
              </a:ext>
            </a:extLst>
          </p:cNvPr>
          <p:cNvGraphicFramePr>
            <a:graphicFrameLocks noChangeAspect="1"/>
          </p:cNvGraphicFramePr>
          <p:nvPr>
            <p:extLst>
              <p:ext uri="{D42A27DB-BD31-4B8C-83A1-F6EECF244321}">
                <p14:modId xmlns:p14="http://schemas.microsoft.com/office/powerpoint/2010/main" val="1632378049"/>
              </p:ext>
            </p:extLst>
          </p:nvPr>
        </p:nvGraphicFramePr>
        <p:xfrm>
          <a:off x="1966818" y="1070518"/>
          <a:ext cx="8258366" cy="4713790"/>
        </p:xfrm>
        <a:graphic>
          <a:graphicData uri="http://schemas.openxmlformats.org/presentationml/2006/ole">
            <mc:AlternateContent xmlns:mc="http://schemas.openxmlformats.org/markup-compatibility/2006">
              <mc:Choice xmlns:v="urn:schemas-microsoft-com:vml" Requires="v">
                <p:oleObj spid="_x0000_s20512" name="Worksheet" r:id="rId4" imgW="6391099" imgH="3647928" progId="Excel.Sheet.12">
                  <p:link updateAutomatic="1"/>
                </p:oleObj>
              </mc:Choice>
              <mc:Fallback>
                <p:oleObj name="Worksheet" r:id="rId4" imgW="6391099" imgH="3647928" progId="Excel.Sheet.12">
                  <p:link updateAutomatic="1"/>
                  <p:pic>
                    <p:nvPicPr>
                      <p:cNvPr id="0" name=""/>
                      <p:cNvPicPr/>
                      <p:nvPr/>
                    </p:nvPicPr>
                    <p:blipFill>
                      <a:blip r:embed="rId5"/>
                      <a:stretch>
                        <a:fillRect/>
                      </a:stretch>
                    </p:blipFill>
                    <p:spPr>
                      <a:xfrm>
                        <a:off x="1966818" y="1070518"/>
                        <a:ext cx="8258366" cy="4713790"/>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C561EC8-0735-4B52-89F6-7BD20601CA88}"/>
              </a:ext>
            </a:extLst>
          </p:cNvPr>
          <p:cNvSpPr/>
          <p:nvPr/>
        </p:nvSpPr>
        <p:spPr>
          <a:xfrm>
            <a:off x="9107424" y="5522976"/>
            <a:ext cx="1207008" cy="4023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779073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it-IT" dirty="0">
                <a:solidFill>
                  <a:schemeClr val="tx1"/>
                </a:solidFill>
                <a:latin typeface="Roboto Light" panose="02000000000000000000" pitchFamily="2" charset="0"/>
                <a:ea typeface="Roboto Light" panose="02000000000000000000" pitchFamily="2" charset="0"/>
              </a:rPr>
              <a:t>Nutritive sweetener deliveries per capita</a:t>
            </a:r>
            <a:endParaRPr lang="en-US" dirty="0">
              <a:solidFill>
                <a:schemeClr val="tx1"/>
              </a:solidFill>
              <a:latin typeface="Roboto Light" panose="02000000000000000000" pitchFamily="2" charset="0"/>
              <a:ea typeface="Roboto Light" panose="02000000000000000000" pitchFamily="2" charset="0"/>
            </a:endParaRPr>
          </a:p>
        </p:txBody>
      </p:sp>
      <p:sp>
        <p:nvSpPr>
          <p:cNvPr id="9" name="Content Placeholder 8"/>
          <p:cNvSpPr>
            <a:spLocks noGrp="1"/>
          </p:cNvSpPr>
          <p:nvPr>
            <p:ph sz="quarter" idx="11"/>
          </p:nvPr>
        </p:nvSpPr>
        <p:spPr/>
        <p:txBody>
          <a:bodyPr>
            <a:normAutofit/>
          </a:bodyPr>
          <a:lstStyle/>
          <a:p>
            <a:endParaRPr lang="en-US" dirty="0">
              <a:latin typeface="Arial Nova" panose="020B0504020202020204" pitchFamily="34" charset="0"/>
            </a:endParaRPr>
          </a:p>
        </p:txBody>
      </p:sp>
      <p:graphicFrame>
        <p:nvGraphicFramePr>
          <p:cNvPr id="3" name="Object 2">
            <a:extLst>
              <a:ext uri="{FF2B5EF4-FFF2-40B4-BE49-F238E27FC236}">
                <a16:creationId xmlns:a16="http://schemas.microsoft.com/office/drawing/2014/main" id="{A0BF1F4B-A0F3-428A-8191-3BA6599B1822}"/>
              </a:ext>
            </a:extLst>
          </p:cNvPr>
          <p:cNvGraphicFramePr>
            <a:graphicFrameLocks noChangeAspect="1"/>
          </p:cNvGraphicFramePr>
          <p:nvPr>
            <p:extLst>
              <p:ext uri="{D42A27DB-BD31-4B8C-83A1-F6EECF244321}">
                <p14:modId xmlns:p14="http://schemas.microsoft.com/office/powerpoint/2010/main" val="2381022546"/>
              </p:ext>
            </p:extLst>
          </p:nvPr>
        </p:nvGraphicFramePr>
        <p:xfrm>
          <a:off x="1836738" y="996950"/>
          <a:ext cx="8724900" cy="4981575"/>
        </p:xfrm>
        <a:graphic>
          <a:graphicData uri="http://schemas.openxmlformats.org/presentationml/2006/ole">
            <mc:AlternateContent xmlns:mc="http://schemas.openxmlformats.org/markup-compatibility/2006">
              <mc:Choice xmlns:v="urn:schemas-microsoft-com:vml" Requires="v">
                <p:oleObj spid="_x0000_s11313" name="Worksheet" r:id="rId4" imgW="6391430" imgH="3648062" progId="Excel.Sheet.12">
                  <p:link updateAutomatic="1"/>
                </p:oleObj>
              </mc:Choice>
              <mc:Fallback>
                <p:oleObj name="Worksheet" r:id="rId4" imgW="6391430" imgH="3648062" progId="Excel.Sheet.12">
                  <p:link updateAutomatic="1"/>
                  <p:pic>
                    <p:nvPicPr>
                      <p:cNvPr id="3" name="Object 2">
                        <a:extLst>
                          <a:ext uri="{FF2B5EF4-FFF2-40B4-BE49-F238E27FC236}">
                            <a16:creationId xmlns:a16="http://schemas.microsoft.com/office/drawing/2014/main" id="{A0BF1F4B-A0F3-428A-8191-3BA6599B1822}"/>
                          </a:ext>
                        </a:extLst>
                      </p:cNvPr>
                      <p:cNvPicPr/>
                      <p:nvPr/>
                    </p:nvPicPr>
                    <p:blipFill>
                      <a:blip r:embed="rId5"/>
                      <a:stretch>
                        <a:fillRect/>
                      </a:stretch>
                    </p:blipFill>
                    <p:spPr>
                      <a:xfrm>
                        <a:off x="1836738" y="996950"/>
                        <a:ext cx="8724900" cy="498157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459F2F16-1215-4848-9B5C-C73CAC442A43}"/>
              </a:ext>
            </a:extLst>
          </p:cNvPr>
          <p:cNvSpPr/>
          <p:nvPr/>
        </p:nvSpPr>
        <p:spPr>
          <a:xfrm>
            <a:off x="8914702" y="5822658"/>
            <a:ext cx="1800837" cy="250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51123694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F9ADF0-0734-4AE3-88A9-2441D3569EAE}"/>
              </a:ext>
            </a:extLst>
          </p:cNvPr>
          <p:cNvSpPr>
            <a:spLocks noGrp="1"/>
          </p:cNvSpPr>
          <p:nvPr>
            <p:ph type="title"/>
          </p:nvPr>
        </p:nvSpPr>
        <p:spPr/>
        <p:txBody>
          <a:bodyPr>
            <a:normAutofit fontScale="90000"/>
          </a:bodyPr>
          <a:lstStyle/>
          <a:p>
            <a:r>
              <a:rPr lang="en-US" dirty="0"/>
              <a:t>U.S. population growth slowing</a:t>
            </a:r>
          </a:p>
        </p:txBody>
      </p:sp>
      <p:sp>
        <p:nvSpPr>
          <p:cNvPr id="3" name="Content Placeholder 2">
            <a:extLst>
              <a:ext uri="{FF2B5EF4-FFF2-40B4-BE49-F238E27FC236}">
                <a16:creationId xmlns:a16="http://schemas.microsoft.com/office/drawing/2014/main" id="{DB894C45-FAA7-4FC4-8593-4F09F755AC94}"/>
              </a:ext>
            </a:extLst>
          </p:cNvPr>
          <p:cNvSpPr>
            <a:spLocks noGrp="1"/>
          </p:cNvSpPr>
          <p:nvPr>
            <p:ph sz="quarter" idx="11"/>
          </p:nvPr>
        </p:nvSpPr>
        <p:spPr/>
        <p:txBody>
          <a:bodyPr/>
          <a:lstStyle/>
          <a:p>
            <a:endParaRPr lang="en-US"/>
          </a:p>
        </p:txBody>
      </p:sp>
      <p:graphicFrame>
        <p:nvGraphicFramePr>
          <p:cNvPr id="4" name="Object 3">
            <a:extLst>
              <a:ext uri="{FF2B5EF4-FFF2-40B4-BE49-F238E27FC236}">
                <a16:creationId xmlns:a16="http://schemas.microsoft.com/office/drawing/2014/main" id="{60DAF0DB-1166-4CF0-82CF-B24F64FD91AD}"/>
              </a:ext>
            </a:extLst>
          </p:cNvPr>
          <p:cNvGraphicFramePr>
            <a:graphicFrameLocks noChangeAspect="1"/>
          </p:cNvGraphicFramePr>
          <p:nvPr>
            <p:extLst>
              <p:ext uri="{D42A27DB-BD31-4B8C-83A1-F6EECF244321}">
                <p14:modId xmlns:p14="http://schemas.microsoft.com/office/powerpoint/2010/main" val="1802074901"/>
              </p:ext>
            </p:extLst>
          </p:nvPr>
        </p:nvGraphicFramePr>
        <p:xfrm>
          <a:off x="2339975" y="1204913"/>
          <a:ext cx="7510463" cy="4445000"/>
        </p:xfrm>
        <a:graphic>
          <a:graphicData uri="http://schemas.openxmlformats.org/presentationml/2006/ole">
            <mc:AlternateContent xmlns:mc="http://schemas.openxmlformats.org/markup-compatibility/2006">
              <mc:Choice xmlns:v="urn:schemas-microsoft-com:vml" Requires="v">
                <p:oleObj spid="_x0000_s21535" name="Worksheet" r:id="rId4" imgW="5859921" imgH="3467079" progId="Excel.Sheet.12">
                  <p:link updateAutomatic="1"/>
                </p:oleObj>
              </mc:Choice>
              <mc:Fallback>
                <p:oleObj name="Worksheet" r:id="rId4" imgW="5859921" imgH="3467079" progId="Excel.Sheet.12">
                  <p:link updateAutomatic="1"/>
                  <p:pic>
                    <p:nvPicPr>
                      <p:cNvPr id="0" name=""/>
                      <p:cNvPicPr/>
                      <p:nvPr/>
                    </p:nvPicPr>
                    <p:blipFill>
                      <a:blip r:embed="rId5"/>
                      <a:stretch>
                        <a:fillRect/>
                      </a:stretch>
                    </p:blipFill>
                    <p:spPr>
                      <a:xfrm>
                        <a:off x="2339975" y="1204913"/>
                        <a:ext cx="7510463" cy="4445000"/>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1AB7E28A-A616-4195-8F00-F28FC4A15BB1}"/>
              </a:ext>
            </a:extLst>
          </p:cNvPr>
          <p:cNvSpPr/>
          <p:nvPr/>
        </p:nvSpPr>
        <p:spPr>
          <a:xfrm>
            <a:off x="8643430" y="5448745"/>
            <a:ext cx="1207008" cy="4023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3759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dirty="0">
                <a:solidFill>
                  <a:schemeClr val="tx1"/>
                </a:solidFill>
                <a:latin typeface="Roboto Light" panose="02000000000000000000" pitchFamily="2" charset="0"/>
                <a:ea typeface="Roboto Light" panose="02000000000000000000" pitchFamily="2" charset="0"/>
              </a:rPr>
              <a:t>Refined sugar &amp; HFCS domestic deliveries</a:t>
            </a:r>
          </a:p>
        </p:txBody>
      </p:sp>
      <p:sp>
        <p:nvSpPr>
          <p:cNvPr id="10" name="Content Placeholder 9"/>
          <p:cNvSpPr>
            <a:spLocks noGrp="1"/>
          </p:cNvSpPr>
          <p:nvPr>
            <p:ph sz="quarter" idx="11"/>
          </p:nvPr>
        </p:nvSpPr>
        <p:spPr/>
        <p:txBody>
          <a:bodyPr>
            <a:noAutofit/>
          </a:bodyPr>
          <a:lstStyle/>
          <a:p>
            <a:r>
              <a:rPr lang="en-US" dirty="0">
                <a:latin typeface="Arial Nova" panose="020B0504020202020204" pitchFamily="34" charset="0"/>
              </a:rPr>
              <a:t>*Estimate</a:t>
            </a:r>
          </a:p>
          <a:p>
            <a:r>
              <a:rPr lang="en-US" dirty="0">
                <a:latin typeface="Arial Nova" panose="020B0504020202020204" pitchFamily="34" charset="0"/>
              </a:rPr>
              <a:t>Source: ERS, </a:t>
            </a:r>
            <a:r>
              <a:rPr lang="en-US" dirty="0" err="1">
                <a:latin typeface="Arial Nova" panose="020B0504020202020204" pitchFamily="34" charset="0"/>
              </a:rPr>
              <a:t>McKeany-Flavell</a:t>
            </a:r>
            <a:endParaRPr lang="en-US" dirty="0">
              <a:latin typeface="Arial Nova" panose="020B0504020202020204" pitchFamily="34" charset="0"/>
            </a:endParaRPr>
          </a:p>
        </p:txBody>
      </p:sp>
      <p:graphicFrame>
        <p:nvGraphicFramePr>
          <p:cNvPr id="2" name="Object 1">
            <a:extLst>
              <a:ext uri="{FF2B5EF4-FFF2-40B4-BE49-F238E27FC236}">
                <a16:creationId xmlns:a16="http://schemas.microsoft.com/office/drawing/2014/main" id="{6ABC0436-9556-4047-8DD8-744C9E0A9056}"/>
              </a:ext>
            </a:extLst>
          </p:cNvPr>
          <p:cNvGraphicFramePr>
            <a:graphicFrameLocks noChangeAspect="1"/>
          </p:cNvGraphicFramePr>
          <p:nvPr>
            <p:extLst>
              <p:ext uri="{D42A27DB-BD31-4B8C-83A1-F6EECF244321}">
                <p14:modId xmlns:p14="http://schemas.microsoft.com/office/powerpoint/2010/main" val="2503667678"/>
              </p:ext>
            </p:extLst>
          </p:nvPr>
        </p:nvGraphicFramePr>
        <p:xfrm>
          <a:off x="1881188" y="1139825"/>
          <a:ext cx="8429625" cy="4822825"/>
        </p:xfrm>
        <a:graphic>
          <a:graphicData uri="http://schemas.openxmlformats.org/presentationml/2006/ole">
            <mc:AlternateContent xmlns:mc="http://schemas.openxmlformats.org/markup-compatibility/2006">
              <mc:Choice xmlns:v="urn:schemas-microsoft-com:vml" Requires="v">
                <p:oleObj spid="_x0000_s12336" name="Worksheet" r:id="rId4" imgW="6393111" imgH="3657568" progId="Excel.Sheet.12">
                  <p:link updateAutomatic="1"/>
                </p:oleObj>
              </mc:Choice>
              <mc:Fallback>
                <p:oleObj name="Worksheet" r:id="rId4" imgW="6393111" imgH="3657568" progId="Excel.Sheet.12">
                  <p:link updateAutomatic="1"/>
                  <p:pic>
                    <p:nvPicPr>
                      <p:cNvPr id="2" name="Object 1">
                        <a:extLst>
                          <a:ext uri="{FF2B5EF4-FFF2-40B4-BE49-F238E27FC236}">
                            <a16:creationId xmlns:a16="http://schemas.microsoft.com/office/drawing/2014/main" id="{6ABC0436-9556-4047-8DD8-744C9E0A9056}"/>
                          </a:ext>
                        </a:extLst>
                      </p:cNvPr>
                      <p:cNvPicPr/>
                      <p:nvPr/>
                    </p:nvPicPr>
                    <p:blipFill>
                      <a:blip r:embed="rId5"/>
                      <a:stretch>
                        <a:fillRect/>
                      </a:stretch>
                    </p:blipFill>
                    <p:spPr>
                      <a:xfrm>
                        <a:off x="1881188" y="1139825"/>
                        <a:ext cx="8429625" cy="4822825"/>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7589FAA-3B35-43C6-90D7-00720D9C6C09}"/>
              </a:ext>
            </a:extLst>
          </p:cNvPr>
          <p:cNvSpPr/>
          <p:nvPr/>
        </p:nvSpPr>
        <p:spPr>
          <a:xfrm>
            <a:off x="9104333" y="5599684"/>
            <a:ext cx="1207008" cy="4023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489075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solidFill>
                  <a:schemeClr val="tx1"/>
                </a:solidFill>
                <a:latin typeface="Roboto Light" panose="02000000000000000000" pitchFamily="2" charset="0"/>
                <a:ea typeface="Roboto Light" panose="02000000000000000000" pitchFamily="2" charset="0"/>
              </a:rPr>
              <a:t>Futures vs. delivered sweetener pricing</a:t>
            </a:r>
          </a:p>
        </p:txBody>
      </p:sp>
      <p:sp>
        <p:nvSpPr>
          <p:cNvPr id="10" name="Content Placeholder 9"/>
          <p:cNvSpPr>
            <a:spLocks noGrp="1"/>
          </p:cNvSpPr>
          <p:nvPr>
            <p:ph sz="quarter" idx="11"/>
          </p:nvPr>
        </p:nvSpPr>
        <p:spPr/>
        <p:txBody>
          <a:bodyPr>
            <a:normAutofit/>
          </a:bodyPr>
          <a:lstStyle/>
          <a:p>
            <a:r>
              <a:rPr lang="en-US" dirty="0">
                <a:latin typeface="Arial Nova" panose="020B0504020202020204" pitchFamily="34" charset="0"/>
              </a:rPr>
              <a:t>Source: DTN M&amp;B, McKeany-Flavell</a:t>
            </a:r>
          </a:p>
        </p:txBody>
      </p:sp>
      <p:graphicFrame>
        <p:nvGraphicFramePr>
          <p:cNvPr id="3" name="Object 2">
            <a:extLst>
              <a:ext uri="{FF2B5EF4-FFF2-40B4-BE49-F238E27FC236}">
                <a16:creationId xmlns:a16="http://schemas.microsoft.com/office/drawing/2014/main" id="{4D158260-9BA2-42CF-9494-40C59F1FCE8B}"/>
              </a:ext>
            </a:extLst>
          </p:cNvPr>
          <p:cNvGraphicFramePr>
            <a:graphicFrameLocks noChangeAspect="1"/>
          </p:cNvGraphicFramePr>
          <p:nvPr>
            <p:extLst>
              <p:ext uri="{D42A27DB-BD31-4B8C-83A1-F6EECF244321}">
                <p14:modId xmlns:p14="http://schemas.microsoft.com/office/powerpoint/2010/main" val="2259300777"/>
              </p:ext>
            </p:extLst>
          </p:nvPr>
        </p:nvGraphicFramePr>
        <p:xfrm>
          <a:off x="1999785" y="768575"/>
          <a:ext cx="8192430" cy="5317676"/>
        </p:xfrm>
        <a:graphic>
          <a:graphicData uri="http://schemas.openxmlformats.org/presentationml/2006/ole">
            <mc:AlternateContent xmlns:mc="http://schemas.openxmlformats.org/markup-compatibility/2006">
              <mc:Choice xmlns:v="urn:schemas-microsoft-com:vml" Requires="v">
                <p:oleObj spid="_x0000_s25627" name="Worksheet" r:id="rId4" imgW="6324630" imgH="4105448" progId="Excel.Sheet.12">
                  <p:link updateAutomatic="1"/>
                </p:oleObj>
              </mc:Choice>
              <mc:Fallback>
                <p:oleObj name="Worksheet" r:id="rId4" imgW="6324630" imgH="4105448" progId="Excel.Sheet.12">
                  <p:link updateAutomatic="1"/>
                  <p:pic>
                    <p:nvPicPr>
                      <p:cNvPr id="0" name=""/>
                      <p:cNvPicPr/>
                      <p:nvPr/>
                    </p:nvPicPr>
                    <p:blipFill>
                      <a:blip r:embed="rId5"/>
                      <a:stretch>
                        <a:fillRect/>
                      </a:stretch>
                    </p:blipFill>
                    <p:spPr>
                      <a:xfrm>
                        <a:off x="1999785" y="768575"/>
                        <a:ext cx="8192430" cy="5317676"/>
                      </a:xfrm>
                      <a:prstGeom prst="rect">
                        <a:avLst/>
                      </a:prstGeom>
                    </p:spPr>
                  </p:pic>
                </p:oleObj>
              </mc:Fallback>
            </mc:AlternateContent>
          </a:graphicData>
        </a:graphic>
      </p:graphicFrame>
    </p:spTree>
    <p:extLst>
      <p:ext uri="{BB962C8B-B14F-4D97-AF65-F5344CB8AC3E}">
        <p14:creationId xmlns:p14="http://schemas.microsoft.com/office/powerpoint/2010/main" val="42132868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heme/theme1.xml><?xml version="1.0" encoding="utf-8"?>
<a:theme xmlns:a="http://schemas.openxmlformats.org/drawingml/2006/main" name="1_Office Theme">
  <a:themeElements>
    <a:clrScheme name="Color theme (3)">
      <a:dk1>
        <a:srgbClr val="070707"/>
      </a:dk1>
      <a:lt1>
        <a:srgbClr val="F4F4F4"/>
      </a:lt1>
      <a:dk2>
        <a:srgbClr val="A0A0A3"/>
      </a:dk2>
      <a:lt2>
        <a:srgbClr val="E5E5E5"/>
      </a:lt2>
      <a:accent1>
        <a:srgbClr val="033E87"/>
      </a:accent1>
      <a:accent2>
        <a:srgbClr val="118FCF"/>
      </a:accent2>
      <a:accent3>
        <a:srgbClr val="1AC9D3"/>
      </a:accent3>
      <a:accent4>
        <a:srgbClr val="1ACB88"/>
      </a:accent4>
      <a:accent5>
        <a:srgbClr val="3CC14E"/>
      </a:accent5>
      <a:accent6>
        <a:srgbClr val="88BC2A"/>
      </a:accent6>
      <a:hlink>
        <a:srgbClr val="0A59BE"/>
      </a:hlink>
      <a:folHlink>
        <a:srgbClr val="B1CE1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cKF19_Template_16-9.potx" id="{69E2DAAD-5FAB-4098-9E44-818993087F69}" vid="{561BF5C1-DEC7-4110-804B-EB8B108A2E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25</TotalTime>
  <Words>759</Words>
  <Application>Microsoft Office PowerPoint</Application>
  <PresentationFormat>Widescreen</PresentationFormat>
  <Paragraphs>101</Paragraphs>
  <Slides>19</Slides>
  <Notes>16</Notes>
  <HiddenSlides>0</HiddenSlides>
  <MMClips>0</MMClips>
  <ScaleCrop>false</ScaleCrop>
  <HeadingPairs>
    <vt:vector size="8" baseType="variant">
      <vt:variant>
        <vt:lpstr>Fonts Used</vt:lpstr>
      </vt:variant>
      <vt:variant>
        <vt:i4>8</vt:i4>
      </vt:variant>
      <vt:variant>
        <vt:lpstr>Theme</vt:lpstr>
      </vt:variant>
      <vt:variant>
        <vt:i4>1</vt:i4>
      </vt:variant>
      <vt:variant>
        <vt:lpstr>Links</vt:lpstr>
      </vt:variant>
      <vt:variant>
        <vt:i4>15</vt:i4>
      </vt:variant>
      <vt:variant>
        <vt:lpstr>Slide Titles</vt:lpstr>
      </vt:variant>
      <vt:variant>
        <vt:i4>19</vt:i4>
      </vt:variant>
    </vt:vector>
  </HeadingPairs>
  <TitlesOfParts>
    <vt:vector size="43" baseType="lpstr">
      <vt:lpstr>Roboto Light</vt:lpstr>
      <vt:lpstr>Roboto</vt:lpstr>
      <vt:lpstr>Source Sans Pro Light</vt:lpstr>
      <vt:lpstr>Helvetica</vt:lpstr>
      <vt:lpstr>Calibri</vt:lpstr>
      <vt:lpstr>FontAwesome</vt:lpstr>
      <vt:lpstr>Arial</vt:lpstr>
      <vt:lpstr>Arial Nova</vt:lpstr>
      <vt:lpstr>1_Office Theme</vt:lpstr>
      <vt:lpstr>file:///\\docshare\Mckfunix\Sugar\M-F_Publications\Presentations_Masters\taxed-population-US.xlsx!beveragetaxesUS!%5btaxed-population-US.xlsx%5dbeveragetaxesUS%20Chart%2012</vt:lpstr>
      <vt:lpstr>file:///\\mkf-dc2\mckfunix\_Data\Sugar\dG_sugar_US_deliveries_beet_cane.xlsx!cA_beet_cane_del!%5bdG_sugar_US_deliveries_beet_cane.xlsx%5dcA_beet_cane_del%20Chart%2012</vt:lpstr>
      <vt:lpstr>file:///\\mkf-dc2\mckfunix\_Data\Sugar\dG_sugar_US_sweetener_consumption.xlsx!mA_sweet_per_cap!%5bdG_sugar_US_sweetener_consumption.xlsx%5dmA_sweet_per_cap%20Chart%201</vt:lpstr>
      <vt:lpstr>\\mkf-dc2\mckfunix\_Data\Sugar\dG_sugar_US_sweetener_consumption.xlsx!mA_sweet_per_cap![dG_sugar_US_sweetener_consumption.xlsx]mA_sweet_per_cap Chart 5</vt:lpstr>
      <vt:lpstr>\\mkf-dc2\mckfunix\_Data\Sugar\dG_sugar_US_sweetener_consumption.xlsx!mA_foodbev_del![dG_sugar_US_sweetener_consumption.xlsx]mA_foodbev_del Chart 2</vt:lpstr>
      <vt:lpstr>file:///\\docshare\mckfunix\Sugar\M-F_Publications\Presentations_Masters\DataWarehouse_Sugar_Prices.xlsx!Monthlies%20for%20Chart!%5bDataWarehouse_Sugar_Prices.xlsx%5dMonthlies%20for%20Chart%20Chart%203-14</vt:lpstr>
      <vt:lpstr>file:///\\mkf-dc2\mckfunix\_Data\Sugar\dG_sugar_US_deliveries_sector.xlsx!mA_sector_del_hist!%5bdG_sugar_US_deliveries_sector.xlsx%5dmA_sector_del_hist%20Chart%203</vt:lpstr>
      <vt:lpstr>file:///\\mkf-dc2\mckfunix\_Data\Sugar\dG_sugar_US_deliveries_sector.xlsx!cA_sector_del!%5bdG_sugar_US_deliveries_sector.xlsx%5dcA_sector_del%20Chart%2011</vt:lpstr>
      <vt:lpstr>file:///\\mkf-dc2\mckfunix\_Data\Sugar\dG_sugar_US_deliveries_sector.xlsx!cA_sector_del!%5bdG_sugar_US_deliveries_sector.xlsx%5dcA_sector_del%20Chart%208</vt:lpstr>
      <vt:lpstr>file:///\\mkf-dc2\mckfunix\Client_Presentations\AgOutlook\2020-02-21\candy%20industry%20sales%20ye%202019.xlsx!Candy_sales!%5bcandy%20industry%20sales%20ye%202019.xlsx%5dCandy_sales%20Chart%202</vt:lpstr>
      <vt:lpstr>file:///\\mkf-dc2\mckfunix\Client_Presentations\AgOutlook\2020-02-21\candy%20industry%20sales%20ye%202019.xlsx!Candy_sales!%5bcandy%20industry%20sales%20ye%202019.xlsx%5dCandy_sales%20Chart%201</vt:lpstr>
      <vt:lpstr>file:///\\mkf-dc2\mckfunix\_Data\Sugar\dG_sugar_US_deliveries_sector.xlsx!cA_sector_del!%5bdG_sugar_US_deliveries_sector.xlsx%5dcA_sector_del%20Chart%209</vt:lpstr>
      <vt:lpstr>file:///\\mkf-dc2\mckfunix\Client_Presentations\AgOutlook\2020-02-21\Annual%20Dairy%20Product%20Data%20021820.xlsx!dairy_prod!%5bAnnual%20Dairy%20Product%20Data%20021820.xlsx%5ddairy_prod%20Chart%203</vt:lpstr>
      <vt:lpstr>file:///\\docshare\mckfunix\Sugar\M-F_Publications\Presentations_Masters\DataWarehouse_Sugar_Prices.xlsx!Monthlies%20for%20Chart!%5bDataWarehouse_Sugar_Prices.xlsx%5dMonthlies%20for%20Chart%20Chart%201</vt:lpstr>
      <vt:lpstr>file:///\\mkf-dc2\mckfunix\Sugar\M-F_Publications\Presentations_Masters\sugar%20containing%20products\SCP%20-%20ITC%20results%20disaggregated%202020-02.xlsx!charts!%5bSCP%20-%20ITC%20results%20disaggregated%202020-02.xlsx%5dcharts%20Chart%204</vt:lpstr>
      <vt:lpstr>Sugar Consumption</vt:lpstr>
      <vt:lpstr>“Scare” headlines for sugar</vt:lpstr>
      <vt:lpstr>Sugar or beverage taxes around the world</vt:lpstr>
      <vt:lpstr>Sweetener &amp; soda taxes in the U.S.: Highly dilute potential influence</vt:lpstr>
      <vt:lpstr>Sugar consumption</vt:lpstr>
      <vt:lpstr>Nutritive sweetener deliveries per capita</vt:lpstr>
      <vt:lpstr>U.S. population growth slowing</vt:lpstr>
      <vt:lpstr>Refined sugar &amp; HFCS domestic deliveries</vt:lpstr>
      <vt:lpstr>Futures vs. delivered sweetener pricing</vt:lpstr>
      <vt:lpstr>Sweetener &amp; soda taxes in the U.S.: Highly dilute potential influence</vt:lpstr>
      <vt:lpstr>Sugar deliveries by category</vt:lpstr>
      <vt:lpstr>Sugar deliveries to the beverage industry</vt:lpstr>
      <vt:lpstr>Sugar deliveries to the confectionery industry</vt:lpstr>
      <vt:lpstr>Confectionery industry, sales by volume</vt:lpstr>
      <vt:lpstr>Sugar deliveries to the ice cream &amp; dairy industry</vt:lpstr>
      <vt:lpstr>Dairy manufacturing volumes, select products</vt:lpstr>
      <vt:lpstr>Domestic vs. world raw sugar futures prices</vt:lpstr>
      <vt:lpstr>Sugar-containing product imports</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gar Consumption</dc:title>
  <dc:creator>Kevin Combs</dc:creator>
  <cp:lastModifiedBy>Amy Demmon</cp:lastModifiedBy>
  <cp:revision>54</cp:revision>
  <cp:lastPrinted>2020-02-19T00:08:00Z</cp:lastPrinted>
  <dcterms:created xsi:type="dcterms:W3CDTF">2020-01-24T23:11:06Z</dcterms:created>
  <dcterms:modified xsi:type="dcterms:W3CDTF">2020-02-19T18:11:29Z</dcterms:modified>
</cp:coreProperties>
</file>